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85" r:id="rId4"/>
    <p:sldMasterId id="2147483800" r:id="rId5"/>
  </p:sldMasterIdLst>
  <p:notesMasterIdLst>
    <p:notesMasterId r:id="rId17"/>
  </p:notesMasterIdLst>
  <p:handoutMasterIdLst>
    <p:handoutMasterId r:id="rId18"/>
  </p:handoutMasterIdLst>
  <p:sldIdLst>
    <p:sldId id="357" r:id="rId6"/>
    <p:sldId id="422" r:id="rId7"/>
    <p:sldId id="420" r:id="rId8"/>
    <p:sldId id="265" r:id="rId9"/>
    <p:sldId id="423" r:id="rId10"/>
    <p:sldId id="431" r:id="rId11"/>
    <p:sldId id="430" r:id="rId12"/>
    <p:sldId id="416" r:id="rId13"/>
    <p:sldId id="278" r:id="rId14"/>
    <p:sldId id="429" r:id="rId15"/>
    <p:sldId id="412" r:id="rId16"/>
  </p:sldIdLst>
  <p:sldSz cx="12192000" cy="6858000"/>
  <p:notesSz cx="6858000" cy="9144000"/>
  <p:embeddedFontLst>
    <p:embeddedFont>
      <p:font typeface="Calibri" panose="020F0502020204030204" pitchFamily="34" charset="0"/>
      <p:regular r:id="rId19"/>
      <p:bold r:id="rId20"/>
      <p:italic r:id="rId21"/>
      <p:boldItalic r:id="rId22"/>
    </p:embeddedFont>
    <p:embeddedFont>
      <p:font typeface="Montserrat" panose="00000500000000000000" pitchFamily="2" charset="-18"/>
      <p:regular r:id="rId23"/>
      <p:bold r:id="rId24"/>
      <p:italic r:id="rId25"/>
    </p:embeddedFont>
    <p:embeddedFont>
      <p:font typeface="Montserrat ExtraBold" panose="00000900000000000000" pitchFamily="2" charset="-18"/>
      <p:bold r:id="rId26"/>
      <p:boldItalic r:id="rId27"/>
    </p:embeddedFont>
    <p:embeddedFont>
      <p:font typeface="Montserrat Medium" panose="00000600000000000000" pitchFamily="2" charset="-18"/>
      <p:regular r:id="rId28"/>
      <p:italic r:id="rId29"/>
    </p:embeddedFont>
    <p:embeddedFont>
      <p:font typeface="Montserrat SemiBold" panose="00000700000000000000" pitchFamily="2" charset="-18"/>
      <p:bold r:id="rId30"/>
      <p:boldItalic r:id="rId31"/>
    </p:embeddedFont>
    <p:embeddedFont>
      <p:font typeface="Tahoma" panose="020B0604030504040204" pitchFamily="34" charset="0"/>
      <p:regular r:id="rId32"/>
      <p:bold r:id="rId3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ED6"/>
    <a:srgbClr val="005758"/>
    <a:srgbClr val="2F967C"/>
    <a:srgbClr val="00B1E2"/>
    <a:srgbClr val="CCD814"/>
    <a:srgbClr val="003030"/>
    <a:srgbClr val="07BED5"/>
    <a:srgbClr val="266A7D"/>
    <a:srgbClr val="93574C"/>
    <a:srgbClr val="5CC4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9E49F3-4C53-49F1-AAD0-CCF67C10B76C}" v="212" dt="2023-05-16T12:37:42.8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27"/>
  </p:normalViewPr>
  <p:slideViewPr>
    <p:cSldViewPr snapToGrid="0" snapToObjects="1">
      <p:cViewPr varScale="1">
        <p:scale>
          <a:sx n="110" d="100"/>
          <a:sy n="110" d="100"/>
        </p:scale>
        <p:origin x="576" y="102"/>
      </p:cViewPr>
      <p:guideLst/>
    </p:cSldViewPr>
  </p:slideViewPr>
  <p:notesTextViewPr>
    <p:cViewPr>
      <p:scale>
        <a:sx n="1" d="1"/>
        <a:sy n="1" d="1"/>
      </p:scale>
      <p:origin x="0" y="0"/>
    </p:cViewPr>
  </p:notesTextViewPr>
  <p:notesViewPr>
    <p:cSldViewPr snapToGrid="0" snapToObjects="1">
      <p:cViewPr varScale="1">
        <p:scale>
          <a:sx n="78" d="100"/>
          <a:sy n="78" d="100"/>
        </p:scale>
        <p:origin x="310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font" Target="fonts/font8.fntdata"/><Relationship Id="rId39" Type="http://schemas.microsoft.com/office/2015/10/relationships/revisionInfo" Target="revisionInfo.xml"/><Relationship Id="rId21" Type="http://schemas.openxmlformats.org/officeDocument/2006/relationships/font" Target="fonts/font3.fntdata"/><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font" Target="fonts/font15.fntdata"/><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ysova, Kristina" userId="d72eb140-5aa7-4564-b5f3-50dab44f6c62" providerId="ADAL" clId="{2F9E49F3-4C53-49F1-AAD0-CCF67C10B76C}"/>
    <pc:docChg chg="undo redo custSel addSld delSld modSld sldOrd">
      <pc:chgData name="Kysova, Kristina" userId="d72eb140-5aa7-4564-b5f3-50dab44f6c62" providerId="ADAL" clId="{2F9E49F3-4C53-49F1-AAD0-CCF67C10B76C}" dt="2023-05-16T12:37:42.825" v="2281" actId="20577"/>
      <pc:docMkLst>
        <pc:docMk/>
      </pc:docMkLst>
      <pc:sldChg chg="modSp add mod ord">
        <pc:chgData name="Kysova, Kristina" userId="d72eb140-5aa7-4564-b5f3-50dab44f6c62" providerId="ADAL" clId="{2F9E49F3-4C53-49F1-AAD0-CCF67C10B76C}" dt="2023-05-15T11:05:28.669" v="285"/>
        <pc:sldMkLst>
          <pc:docMk/>
          <pc:sldMk cId="0" sldId="265"/>
        </pc:sldMkLst>
        <pc:spChg chg="mod">
          <ac:chgData name="Kysova, Kristina" userId="d72eb140-5aa7-4564-b5f3-50dab44f6c62" providerId="ADAL" clId="{2F9E49F3-4C53-49F1-AAD0-CCF67C10B76C}" dt="2023-05-15T11:05:18.817" v="283" actId="6549"/>
          <ac:spMkLst>
            <pc:docMk/>
            <pc:sldMk cId="0" sldId="265"/>
            <ac:spMk id="693" creationId="{00000000-0000-0000-0000-000000000000}"/>
          </ac:spMkLst>
        </pc:spChg>
      </pc:sldChg>
      <pc:sldChg chg="modSp add del mod">
        <pc:chgData name="Kysova, Kristina" userId="d72eb140-5aa7-4564-b5f3-50dab44f6c62" providerId="ADAL" clId="{2F9E49F3-4C53-49F1-AAD0-CCF67C10B76C}" dt="2023-05-15T11:22:51.636" v="382" actId="47"/>
        <pc:sldMkLst>
          <pc:docMk/>
          <pc:sldMk cId="0" sldId="269"/>
        </pc:sldMkLst>
        <pc:spChg chg="mod">
          <ac:chgData name="Kysova, Kristina" userId="d72eb140-5aa7-4564-b5f3-50dab44f6c62" providerId="ADAL" clId="{2F9E49F3-4C53-49F1-AAD0-CCF67C10B76C}" dt="2023-05-15T11:08:44.461" v="345" actId="20577"/>
          <ac:spMkLst>
            <pc:docMk/>
            <pc:sldMk cId="0" sldId="269"/>
            <ac:spMk id="816" creationId="{00000000-0000-0000-0000-000000000000}"/>
          </ac:spMkLst>
        </pc:spChg>
        <pc:graphicFrameChg chg="mod modGraphic">
          <ac:chgData name="Kysova, Kristina" userId="d72eb140-5aa7-4564-b5f3-50dab44f6c62" providerId="ADAL" clId="{2F9E49F3-4C53-49F1-AAD0-CCF67C10B76C}" dt="2023-05-15T11:20:36.168" v="353" actId="207"/>
          <ac:graphicFrameMkLst>
            <pc:docMk/>
            <pc:sldMk cId="0" sldId="269"/>
            <ac:graphicFrameMk id="817" creationId="{00000000-0000-0000-0000-000000000000}"/>
          </ac:graphicFrameMkLst>
        </pc:graphicFrameChg>
      </pc:sldChg>
      <pc:sldChg chg="delSp modSp add mod ord">
        <pc:chgData name="Kysova, Kristina" userId="d72eb140-5aa7-4564-b5f3-50dab44f6c62" providerId="ADAL" clId="{2F9E49F3-4C53-49F1-AAD0-CCF67C10B76C}" dt="2023-05-15T13:02:46.646" v="1942" actId="20577"/>
        <pc:sldMkLst>
          <pc:docMk/>
          <pc:sldMk cId="0" sldId="278"/>
        </pc:sldMkLst>
        <pc:spChg chg="mod">
          <ac:chgData name="Kysova, Kristina" userId="d72eb140-5aa7-4564-b5f3-50dab44f6c62" providerId="ADAL" clId="{2F9E49F3-4C53-49F1-AAD0-CCF67C10B76C}" dt="2023-05-15T13:02:46.646" v="1942" actId="20577"/>
          <ac:spMkLst>
            <pc:docMk/>
            <pc:sldMk cId="0" sldId="278"/>
            <ac:spMk id="1084" creationId="{00000000-0000-0000-0000-000000000000}"/>
          </ac:spMkLst>
        </pc:spChg>
        <pc:graphicFrameChg chg="modGraphic">
          <ac:chgData name="Kysova, Kristina" userId="d72eb140-5aa7-4564-b5f3-50dab44f6c62" providerId="ADAL" clId="{2F9E49F3-4C53-49F1-AAD0-CCF67C10B76C}" dt="2023-05-15T11:23:24.394" v="386" actId="207"/>
          <ac:graphicFrameMkLst>
            <pc:docMk/>
            <pc:sldMk cId="0" sldId="278"/>
            <ac:graphicFrameMk id="1086" creationId="{00000000-0000-0000-0000-000000000000}"/>
          </ac:graphicFrameMkLst>
        </pc:graphicFrameChg>
        <pc:picChg chg="del">
          <ac:chgData name="Kysova, Kristina" userId="d72eb140-5aa7-4564-b5f3-50dab44f6c62" providerId="ADAL" clId="{2F9E49F3-4C53-49F1-AAD0-CCF67C10B76C}" dt="2023-05-15T11:22:18.689" v="356" actId="478"/>
          <ac:picMkLst>
            <pc:docMk/>
            <pc:sldMk cId="0" sldId="278"/>
            <ac:picMk id="1085" creationId="{00000000-0000-0000-0000-000000000000}"/>
          </ac:picMkLst>
        </pc:picChg>
        <pc:picChg chg="del">
          <ac:chgData name="Kysova, Kristina" userId="d72eb140-5aa7-4564-b5f3-50dab44f6c62" providerId="ADAL" clId="{2F9E49F3-4C53-49F1-AAD0-CCF67C10B76C}" dt="2023-05-15T11:22:22.504" v="362" actId="478"/>
          <ac:picMkLst>
            <pc:docMk/>
            <pc:sldMk cId="0" sldId="278"/>
            <ac:picMk id="1093" creationId="{00000000-0000-0000-0000-000000000000}"/>
          </ac:picMkLst>
        </pc:picChg>
        <pc:picChg chg="del">
          <ac:chgData name="Kysova, Kristina" userId="d72eb140-5aa7-4564-b5f3-50dab44f6c62" providerId="ADAL" clId="{2F9E49F3-4C53-49F1-AAD0-CCF67C10B76C}" dt="2023-05-15T11:22:19.761" v="357" actId="478"/>
          <ac:picMkLst>
            <pc:docMk/>
            <pc:sldMk cId="0" sldId="278"/>
            <ac:picMk id="1094" creationId="{00000000-0000-0000-0000-000000000000}"/>
          </ac:picMkLst>
        </pc:picChg>
        <pc:picChg chg="del mod">
          <ac:chgData name="Kysova, Kristina" userId="d72eb140-5aa7-4564-b5f3-50dab44f6c62" providerId="ADAL" clId="{2F9E49F3-4C53-49F1-AAD0-CCF67C10B76C}" dt="2023-05-15T11:22:20.485" v="359" actId="478"/>
          <ac:picMkLst>
            <pc:docMk/>
            <pc:sldMk cId="0" sldId="278"/>
            <ac:picMk id="1095" creationId="{00000000-0000-0000-0000-000000000000}"/>
          </ac:picMkLst>
        </pc:picChg>
        <pc:picChg chg="del">
          <ac:chgData name="Kysova, Kristina" userId="d72eb140-5aa7-4564-b5f3-50dab44f6c62" providerId="ADAL" clId="{2F9E49F3-4C53-49F1-AAD0-CCF67C10B76C}" dt="2023-05-15T11:22:21.213" v="360" actId="478"/>
          <ac:picMkLst>
            <pc:docMk/>
            <pc:sldMk cId="0" sldId="278"/>
            <ac:picMk id="1096" creationId="{00000000-0000-0000-0000-000000000000}"/>
          </ac:picMkLst>
        </pc:picChg>
        <pc:picChg chg="del">
          <ac:chgData name="Kysova, Kristina" userId="d72eb140-5aa7-4564-b5f3-50dab44f6c62" providerId="ADAL" clId="{2F9E49F3-4C53-49F1-AAD0-CCF67C10B76C}" dt="2023-05-15T11:22:21.899" v="361" actId="478"/>
          <ac:picMkLst>
            <pc:docMk/>
            <pc:sldMk cId="0" sldId="278"/>
            <ac:picMk id="1097" creationId="{00000000-0000-0000-0000-000000000000}"/>
          </ac:picMkLst>
        </pc:picChg>
      </pc:sldChg>
      <pc:sldChg chg="addSp delSp modSp add del mod">
        <pc:chgData name="Kysova, Kristina" userId="d72eb140-5aa7-4564-b5f3-50dab44f6c62" providerId="ADAL" clId="{2F9E49F3-4C53-49F1-AAD0-CCF67C10B76C}" dt="2023-05-15T13:39:26.681" v="2024" actId="47"/>
        <pc:sldMkLst>
          <pc:docMk/>
          <pc:sldMk cId="0" sldId="284"/>
        </pc:sldMkLst>
        <pc:spChg chg="add mod">
          <ac:chgData name="Kysova, Kristina" userId="d72eb140-5aa7-4564-b5f3-50dab44f6c62" providerId="ADAL" clId="{2F9E49F3-4C53-49F1-AAD0-CCF67C10B76C}" dt="2023-05-15T13:22:52.921" v="2006" actId="478"/>
          <ac:spMkLst>
            <pc:docMk/>
            <pc:sldMk cId="0" sldId="284"/>
            <ac:spMk id="3" creationId="{A7B1F23F-DE86-89F8-8A01-3FADFE5F461D}"/>
          </ac:spMkLst>
        </pc:spChg>
        <pc:spChg chg="del mod">
          <ac:chgData name="Kysova, Kristina" userId="d72eb140-5aa7-4564-b5f3-50dab44f6c62" providerId="ADAL" clId="{2F9E49F3-4C53-49F1-AAD0-CCF67C10B76C}" dt="2023-05-15T13:22:52.921" v="2006" actId="478"/>
          <ac:spMkLst>
            <pc:docMk/>
            <pc:sldMk cId="0" sldId="284"/>
            <ac:spMk id="1176" creationId="{00000000-0000-0000-0000-000000000000}"/>
          </ac:spMkLst>
        </pc:spChg>
        <pc:spChg chg="del mod">
          <ac:chgData name="Kysova, Kristina" userId="d72eb140-5aa7-4564-b5f3-50dab44f6c62" providerId="ADAL" clId="{2F9E49F3-4C53-49F1-AAD0-CCF67C10B76C}" dt="2023-05-15T13:23:29.657" v="2015" actId="478"/>
          <ac:spMkLst>
            <pc:docMk/>
            <pc:sldMk cId="0" sldId="284"/>
            <ac:spMk id="1178" creationId="{00000000-0000-0000-0000-000000000000}"/>
          </ac:spMkLst>
        </pc:spChg>
        <pc:spChg chg="mod">
          <ac:chgData name="Kysova, Kristina" userId="d72eb140-5aa7-4564-b5f3-50dab44f6c62" providerId="ADAL" clId="{2F9E49F3-4C53-49F1-AAD0-CCF67C10B76C}" dt="2023-05-15T13:23:20.139" v="2012" actId="207"/>
          <ac:spMkLst>
            <pc:docMk/>
            <pc:sldMk cId="0" sldId="284"/>
            <ac:spMk id="1182" creationId="{00000000-0000-0000-0000-000000000000}"/>
          </ac:spMkLst>
        </pc:spChg>
        <pc:graphicFrameChg chg="del mod modGraphic">
          <ac:chgData name="Kysova, Kristina" userId="d72eb140-5aa7-4564-b5f3-50dab44f6c62" providerId="ADAL" clId="{2F9E49F3-4C53-49F1-AAD0-CCF67C10B76C}" dt="2023-05-15T13:22:47.035" v="2004" actId="478"/>
          <ac:graphicFrameMkLst>
            <pc:docMk/>
            <pc:sldMk cId="0" sldId="284"/>
            <ac:graphicFrameMk id="1177" creationId="{00000000-0000-0000-0000-000000000000}"/>
          </ac:graphicFrameMkLst>
        </pc:graphicFrameChg>
        <pc:picChg chg="add del mod">
          <ac:chgData name="Kysova, Kristina" userId="d72eb140-5aa7-4564-b5f3-50dab44f6c62" providerId="ADAL" clId="{2F9E49F3-4C53-49F1-AAD0-CCF67C10B76C}" dt="2023-05-15T13:39:11.023" v="2022" actId="478"/>
          <ac:picMkLst>
            <pc:docMk/>
            <pc:sldMk cId="0" sldId="284"/>
            <ac:picMk id="5" creationId="{B9C66428-D183-F02C-737D-44E70EABEAAB}"/>
          </ac:picMkLst>
        </pc:picChg>
      </pc:sldChg>
      <pc:sldChg chg="modSp mod">
        <pc:chgData name="Kysova, Kristina" userId="d72eb140-5aa7-4564-b5f3-50dab44f6c62" providerId="ADAL" clId="{2F9E49F3-4C53-49F1-AAD0-CCF67C10B76C}" dt="2023-05-15T12:06:01.007" v="1916" actId="2711"/>
        <pc:sldMkLst>
          <pc:docMk/>
          <pc:sldMk cId="1602448073" sldId="357"/>
        </pc:sldMkLst>
        <pc:spChg chg="mod">
          <ac:chgData name="Kysova, Kristina" userId="d72eb140-5aa7-4564-b5f3-50dab44f6c62" providerId="ADAL" clId="{2F9E49F3-4C53-49F1-AAD0-CCF67C10B76C}" dt="2023-05-15T12:05:37.965" v="1913" actId="14100"/>
          <ac:spMkLst>
            <pc:docMk/>
            <pc:sldMk cId="1602448073" sldId="357"/>
            <ac:spMk id="2" creationId="{14BC0993-3C19-CF25-7A9B-F67680B86D16}"/>
          </ac:spMkLst>
        </pc:spChg>
        <pc:spChg chg="mod">
          <ac:chgData name="Kysova, Kristina" userId="d72eb140-5aa7-4564-b5f3-50dab44f6c62" providerId="ADAL" clId="{2F9E49F3-4C53-49F1-AAD0-CCF67C10B76C}" dt="2023-05-15T12:05:52.301" v="1915" actId="2711"/>
          <ac:spMkLst>
            <pc:docMk/>
            <pc:sldMk cId="1602448073" sldId="357"/>
            <ac:spMk id="4" creationId="{9E05436F-1FFA-A69D-B3CE-CBE23F7C14CE}"/>
          </ac:spMkLst>
        </pc:spChg>
        <pc:spChg chg="mod">
          <ac:chgData name="Kysova, Kristina" userId="d72eb140-5aa7-4564-b5f3-50dab44f6c62" providerId="ADAL" clId="{2F9E49F3-4C53-49F1-AAD0-CCF67C10B76C}" dt="2023-05-15T12:06:01.007" v="1916" actId="2711"/>
          <ac:spMkLst>
            <pc:docMk/>
            <pc:sldMk cId="1602448073" sldId="357"/>
            <ac:spMk id="5" creationId="{CC7A2310-CEF2-14A8-C326-017D5595F998}"/>
          </ac:spMkLst>
        </pc:spChg>
        <pc:spChg chg="mod">
          <ac:chgData name="Kysova, Kristina" userId="d72eb140-5aa7-4564-b5f3-50dab44f6c62" providerId="ADAL" clId="{2F9E49F3-4C53-49F1-AAD0-CCF67C10B76C}" dt="2023-05-15T12:05:15.286" v="1907" actId="1076"/>
          <ac:spMkLst>
            <pc:docMk/>
            <pc:sldMk cId="1602448073" sldId="357"/>
            <ac:spMk id="12" creationId="{00000000-0000-0000-0000-000000000000}"/>
          </ac:spMkLst>
        </pc:spChg>
      </pc:sldChg>
      <pc:sldChg chg="addSp modSp del mod">
        <pc:chgData name="Kysova, Kristina" userId="d72eb140-5aa7-4564-b5f3-50dab44f6c62" providerId="ADAL" clId="{2F9E49F3-4C53-49F1-AAD0-CCF67C10B76C}" dt="2023-05-15T10:56:20.952" v="239" actId="47"/>
        <pc:sldMkLst>
          <pc:docMk/>
          <pc:sldMk cId="1837594332" sldId="410"/>
        </pc:sldMkLst>
        <pc:spChg chg="mod">
          <ac:chgData name="Kysova, Kristina" userId="d72eb140-5aa7-4564-b5f3-50dab44f6c62" providerId="ADAL" clId="{2F9E49F3-4C53-49F1-AAD0-CCF67C10B76C}" dt="2023-05-15T10:50:28.127" v="157" actId="20577"/>
          <ac:spMkLst>
            <pc:docMk/>
            <pc:sldMk cId="1837594332" sldId="410"/>
            <ac:spMk id="4" creationId="{3285C964-0DB4-574D-ABFE-EF401DD6737A}"/>
          </ac:spMkLst>
        </pc:spChg>
        <pc:graphicFrameChg chg="mod">
          <ac:chgData name="Kysova, Kristina" userId="d72eb140-5aa7-4564-b5f3-50dab44f6c62" providerId="ADAL" clId="{2F9E49F3-4C53-49F1-AAD0-CCF67C10B76C}" dt="2023-05-15T10:50:13.891" v="143" actId="478"/>
          <ac:graphicFrameMkLst>
            <pc:docMk/>
            <pc:sldMk cId="1837594332" sldId="410"/>
            <ac:graphicFrameMk id="7" creationId="{777E0FA8-7A29-8562-D6D0-CA12C8B39494}"/>
          </ac:graphicFrameMkLst>
        </pc:graphicFrameChg>
        <pc:picChg chg="add mod">
          <ac:chgData name="Kysova, Kristina" userId="d72eb140-5aa7-4564-b5f3-50dab44f6c62" providerId="ADAL" clId="{2F9E49F3-4C53-49F1-AAD0-CCF67C10B76C}" dt="2023-05-15T10:55:06.892" v="198" actId="14100"/>
          <ac:picMkLst>
            <pc:docMk/>
            <pc:sldMk cId="1837594332" sldId="410"/>
            <ac:picMk id="5" creationId="{5DFE9530-F8E7-9BC1-15AC-4E2A1BA83C2A}"/>
          </ac:picMkLst>
        </pc:picChg>
      </pc:sldChg>
      <pc:sldChg chg="modSp mod">
        <pc:chgData name="Kysova, Kristina" userId="d72eb140-5aa7-4564-b5f3-50dab44f6c62" providerId="ADAL" clId="{2F9E49F3-4C53-49F1-AAD0-CCF67C10B76C}" dt="2023-05-16T12:37:42.825" v="2281" actId="20577"/>
        <pc:sldMkLst>
          <pc:docMk/>
          <pc:sldMk cId="155028163" sldId="412"/>
        </pc:sldMkLst>
        <pc:spChg chg="mod">
          <ac:chgData name="Kysova, Kristina" userId="d72eb140-5aa7-4564-b5f3-50dab44f6c62" providerId="ADAL" clId="{2F9E49F3-4C53-49F1-AAD0-CCF67C10B76C}" dt="2023-05-15T11:55:58.735" v="1624" actId="20577"/>
          <ac:spMkLst>
            <pc:docMk/>
            <pc:sldMk cId="155028163" sldId="412"/>
            <ac:spMk id="2" creationId="{0C1BCE4D-FAEA-0720-B54A-4F8AD8D1391B}"/>
          </ac:spMkLst>
        </pc:spChg>
        <pc:graphicFrameChg chg="mod">
          <ac:chgData name="Kysova, Kristina" userId="d72eb140-5aa7-4564-b5f3-50dab44f6c62" providerId="ADAL" clId="{2F9E49F3-4C53-49F1-AAD0-CCF67C10B76C}" dt="2023-05-16T12:37:42.825" v="2281" actId="20577"/>
          <ac:graphicFrameMkLst>
            <pc:docMk/>
            <pc:sldMk cId="155028163" sldId="412"/>
            <ac:graphicFrameMk id="33" creationId="{6F106925-1740-3A5C-6E3C-AFB0B1394912}"/>
          </ac:graphicFrameMkLst>
        </pc:graphicFrameChg>
      </pc:sldChg>
      <pc:sldChg chg="del">
        <pc:chgData name="Kysova, Kristina" userId="d72eb140-5aa7-4564-b5f3-50dab44f6c62" providerId="ADAL" clId="{2F9E49F3-4C53-49F1-AAD0-CCF67C10B76C}" dt="2023-05-15T11:23:06.713" v="385" actId="47"/>
        <pc:sldMkLst>
          <pc:docMk/>
          <pc:sldMk cId="3605500571" sldId="415"/>
        </pc:sldMkLst>
      </pc:sldChg>
      <pc:sldChg chg="modSp mod">
        <pc:chgData name="Kysova, Kristina" userId="d72eb140-5aa7-4564-b5f3-50dab44f6c62" providerId="ADAL" clId="{2F9E49F3-4C53-49F1-AAD0-CCF67C10B76C}" dt="2023-05-15T14:24:21.143" v="2272" actId="6549"/>
        <pc:sldMkLst>
          <pc:docMk/>
          <pc:sldMk cId="2533102096" sldId="416"/>
        </pc:sldMkLst>
        <pc:spChg chg="mod">
          <ac:chgData name="Kysova, Kristina" userId="d72eb140-5aa7-4564-b5f3-50dab44f6c62" providerId="ADAL" clId="{2F9E49F3-4C53-49F1-AAD0-CCF67C10B76C}" dt="2023-05-15T14:24:21.143" v="2272" actId="6549"/>
          <ac:spMkLst>
            <pc:docMk/>
            <pc:sldMk cId="2533102096" sldId="416"/>
            <ac:spMk id="2" creationId="{2BF63A9F-49D7-6F49-EE9B-B5E73A2725F1}"/>
          </ac:spMkLst>
        </pc:spChg>
        <pc:spChg chg="mod">
          <ac:chgData name="Kysova, Kristina" userId="d72eb140-5aa7-4564-b5f3-50dab44f6c62" providerId="ADAL" clId="{2F9E49F3-4C53-49F1-AAD0-CCF67C10B76C}" dt="2023-05-15T12:04:13.694" v="1900" actId="2711"/>
          <ac:spMkLst>
            <pc:docMk/>
            <pc:sldMk cId="2533102096" sldId="416"/>
            <ac:spMk id="4" creationId="{3285C964-0DB4-574D-ABFE-EF401DD6737A}"/>
          </ac:spMkLst>
        </pc:spChg>
        <pc:spChg chg="mod">
          <ac:chgData name="Kysova, Kristina" userId="d72eb140-5aa7-4564-b5f3-50dab44f6c62" providerId="ADAL" clId="{2F9E49F3-4C53-49F1-AAD0-CCF67C10B76C}" dt="2023-05-15T12:04:36.255" v="1903" actId="5793"/>
          <ac:spMkLst>
            <pc:docMk/>
            <pc:sldMk cId="2533102096" sldId="416"/>
            <ac:spMk id="11" creationId="{E2620A4D-A63B-4242-8A43-44C80CB108E9}"/>
          </ac:spMkLst>
        </pc:spChg>
      </pc:sldChg>
      <pc:sldChg chg="modSp del mod">
        <pc:chgData name="Kysova, Kristina" userId="d72eb140-5aa7-4564-b5f3-50dab44f6c62" providerId="ADAL" clId="{2F9E49F3-4C53-49F1-AAD0-CCF67C10B76C}" dt="2023-05-15T11:32:21.912" v="521" actId="47"/>
        <pc:sldMkLst>
          <pc:docMk/>
          <pc:sldMk cId="2901568005" sldId="417"/>
        </pc:sldMkLst>
        <pc:spChg chg="mod">
          <ac:chgData name="Kysova, Kristina" userId="d72eb140-5aa7-4564-b5f3-50dab44f6c62" providerId="ADAL" clId="{2F9E49F3-4C53-49F1-AAD0-CCF67C10B76C}" dt="2023-05-15T11:32:18.917" v="520" actId="20577"/>
          <ac:spMkLst>
            <pc:docMk/>
            <pc:sldMk cId="2901568005" sldId="417"/>
            <ac:spMk id="21" creationId="{E2620A4D-A63B-4242-8A43-44C80CB108E9}"/>
          </ac:spMkLst>
        </pc:spChg>
      </pc:sldChg>
      <pc:sldChg chg="del">
        <pc:chgData name="Kysova, Kristina" userId="d72eb140-5aa7-4564-b5f3-50dab44f6c62" providerId="ADAL" clId="{2F9E49F3-4C53-49F1-AAD0-CCF67C10B76C}" dt="2023-05-15T11:23:02.679" v="384" actId="47"/>
        <pc:sldMkLst>
          <pc:docMk/>
          <pc:sldMk cId="2820053159" sldId="419"/>
        </pc:sldMkLst>
      </pc:sldChg>
      <pc:sldChg chg="addSp delSp modSp new mod modClrScheme chgLayout">
        <pc:chgData name="Kysova, Kristina" userId="d72eb140-5aa7-4564-b5f3-50dab44f6c62" providerId="ADAL" clId="{2F9E49F3-4C53-49F1-AAD0-CCF67C10B76C}" dt="2023-05-15T10:53:43.938" v="180" actId="26606"/>
        <pc:sldMkLst>
          <pc:docMk/>
          <pc:sldMk cId="2953636382" sldId="420"/>
        </pc:sldMkLst>
        <pc:spChg chg="del">
          <ac:chgData name="Kysova, Kristina" userId="d72eb140-5aa7-4564-b5f3-50dab44f6c62" providerId="ADAL" clId="{2F9E49F3-4C53-49F1-AAD0-CCF67C10B76C}" dt="2023-05-15T10:53:43.938" v="180" actId="26606"/>
          <ac:spMkLst>
            <pc:docMk/>
            <pc:sldMk cId="2953636382" sldId="420"/>
            <ac:spMk id="2" creationId="{712DCCC1-C674-5313-BB50-2E3B0DC3585D}"/>
          </ac:spMkLst>
        </pc:spChg>
        <pc:spChg chg="del">
          <ac:chgData name="Kysova, Kristina" userId="d72eb140-5aa7-4564-b5f3-50dab44f6c62" providerId="ADAL" clId="{2F9E49F3-4C53-49F1-AAD0-CCF67C10B76C}" dt="2023-05-15T10:49:26.695" v="137" actId="22"/>
          <ac:spMkLst>
            <pc:docMk/>
            <pc:sldMk cId="2953636382" sldId="420"/>
            <ac:spMk id="3" creationId="{1568ED49-EEFE-AECE-4209-CD9CF5F5F379}"/>
          </ac:spMkLst>
        </pc:spChg>
        <pc:spChg chg="mod modVis">
          <ac:chgData name="Kysova, Kristina" userId="d72eb140-5aa7-4564-b5f3-50dab44f6c62" providerId="ADAL" clId="{2F9E49F3-4C53-49F1-AAD0-CCF67C10B76C}" dt="2023-05-15T10:53:43.938" v="180" actId="26606"/>
          <ac:spMkLst>
            <pc:docMk/>
            <pc:sldMk cId="2953636382" sldId="420"/>
            <ac:spMk id="4" creationId="{7F49BBBD-B95E-E553-9FAD-901C5F9CF0C0}"/>
          </ac:spMkLst>
        </pc:spChg>
        <pc:spChg chg="del">
          <ac:chgData name="Kysova, Kristina" userId="d72eb140-5aa7-4564-b5f3-50dab44f6c62" providerId="ADAL" clId="{2F9E49F3-4C53-49F1-AAD0-CCF67C10B76C}" dt="2023-05-15T10:53:43.938" v="180" actId="26606"/>
          <ac:spMkLst>
            <pc:docMk/>
            <pc:sldMk cId="2953636382" sldId="420"/>
            <ac:spMk id="5" creationId="{2FF2F6BE-0184-20F1-374A-ECA51D65AA03}"/>
          </ac:spMkLst>
        </pc:spChg>
        <pc:picChg chg="add mod ord">
          <ac:chgData name="Kysova, Kristina" userId="d72eb140-5aa7-4564-b5f3-50dab44f6c62" providerId="ADAL" clId="{2F9E49F3-4C53-49F1-AAD0-CCF67C10B76C}" dt="2023-05-15T10:53:43.938" v="180" actId="26606"/>
          <ac:picMkLst>
            <pc:docMk/>
            <pc:sldMk cId="2953636382" sldId="420"/>
            <ac:picMk id="7" creationId="{CC56E6E4-63CC-2A85-9DB4-BF704198D346}"/>
          </ac:picMkLst>
        </pc:picChg>
      </pc:sldChg>
      <pc:sldChg chg="addSp delSp modSp new del mod modClrScheme chgLayout">
        <pc:chgData name="Kysova, Kristina" userId="d72eb140-5aa7-4564-b5f3-50dab44f6c62" providerId="ADAL" clId="{2F9E49F3-4C53-49F1-AAD0-CCF67C10B76C}" dt="2023-05-15T10:53:37.357" v="179" actId="47"/>
        <pc:sldMkLst>
          <pc:docMk/>
          <pc:sldMk cId="4202471618" sldId="421"/>
        </pc:sldMkLst>
        <pc:spChg chg="add del">
          <ac:chgData name="Kysova, Kristina" userId="d72eb140-5aa7-4564-b5f3-50dab44f6c62" providerId="ADAL" clId="{2F9E49F3-4C53-49F1-AAD0-CCF67C10B76C}" dt="2023-05-15T10:52:37.628" v="168" actId="26606"/>
          <ac:spMkLst>
            <pc:docMk/>
            <pc:sldMk cId="4202471618" sldId="421"/>
            <ac:spMk id="2" creationId="{40A87E12-D764-D5AA-7B07-1F1CC4C888DA}"/>
          </ac:spMkLst>
        </pc:spChg>
        <pc:spChg chg="del">
          <ac:chgData name="Kysova, Kristina" userId="d72eb140-5aa7-4564-b5f3-50dab44f6c62" providerId="ADAL" clId="{2F9E49F3-4C53-49F1-AAD0-CCF67C10B76C}" dt="2023-05-15T10:51:42.506" v="161" actId="22"/>
          <ac:spMkLst>
            <pc:docMk/>
            <pc:sldMk cId="4202471618" sldId="421"/>
            <ac:spMk id="3" creationId="{2154FA60-4B7A-B55E-787E-6C29337657BD}"/>
          </ac:spMkLst>
        </pc:spChg>
        <pc:spChg chg="mod modVis">
          <ac:chgData name="Kysova, Kristina" userId="d72eb140-5aa7-4564-b5f3-50dab44f6c62" providerId="ADAL" clId="{2F9E49F3-4C53-49F1-AAD0-CCF67C10B76C}" dt="2023-05-15T10:52:37.628" v="168" actId="26606"/>
          <ac:spMkLst>
            <pc:docMk/>
            <pc:sldMk cId="4202471618" sldId="421"/>
            <ac:spMk id="4" creationId="{06F54957-4EB8-F304-F8A2-3E80DA335D47}"/>
          </ac:spMkLst>
        </pc:spChg>
        <pc:spChg chg="add del">
          <ac:chgData name="Kysova, Kristina" userId="d72eb140-5aa7-4564-b5f3-50dab44f6c62" providerId="ADAL" clId="{2F9E49F3-4C53-49F1-AAD0-CCF67C10B76C}" dt="2023-05-15T10:52:37.628" v="168" actId="26606"/>
          <ac:spMkLst>
            <pc:docMk/>
            <pc:sldMk cId="4202471618" sldId="421"/>
            <ac:spMk id="5" creationId="{529B0CEF-9FE1-98ED-CF56-47D82E2957CD}"/>
          </ac:spMkLst>
        </pc:spChg>
        <pc:spChg chg="add del mod">
          <ac:chgData name="Kysova, Kristina" userId="d72eb140-5aa7-4564-b5f3-50dab44f6c62" providerId="ADAL" clId="{2F9E49F3-4C53-49F1-AAD0-CCF67C10B76C}" dt="2023-05-15T10:52:17.636" v="163" actId="26606"/>
          <ac:spMkLst>
            <pc:docMk/>
            <pc:sldMk cId="4202471618" sldId="421"/>
            <ac:spMk id="12" creationId="{4262561A-5543-7A78-1C5C-F4E0F721EDA0}"/>
          </ac:spMkLst>
        </pc:spChg>
        <pc:picChg chg="add mod ord">
          <ac:chgData name="Kysova, Kristina" userId="d72eb140-5aa7-4564-b5f3-50dab44f6c62" providerId="ADAL" clId="{2F9E49F3-4C53-49F1-AAD0-CCF67C10B76C}" dt="2023-05-15T10:52:52.864" v="171" actId="1076"/>
          <ac:picMkLst>
            <pc:docMk/>
            <pc:sldMk cId="4202471618" sldId="421"/>
            <ac:picMk id="7" creationId="{F265EDF6-27AC-873F-209C-4FB9DFDC1F98}"/>
          </ac:picMkLst>
        </pc:picChg>
      </pc:sldChg>
      <pc:sldChg chg="new del">
        <pc:chgData name="Kysova, Kristina" userId="d72eb140-5aa7-4564-b5f3-50dab44f6c62" providerId="ADAL" clId="{2F9E49F3-4C53-49F1-AAD0-CCF67C10B76C}" dt="2023-05-15T10:53:13.236" v="175" actId="680"/>
        <pc:sldMkLst>
          <pc:docMk/>
          <pc:sldMk cId="740358180" sldId="422"/>
        </pc:sldMkLst>
      </pc:sldChg>
      <pc:sldChg chg="addSp delSp modSp new mod modClrScheme chgLayout">
        <pc:chgData name="Kysova, Kristina" userId="d72eb140-5aa7-4564-b5f3-50dab44f6c62" providerId="ADAL" clId="{2F9E49F3-4C53-49F1-AAD0-CCF67C10B76C}" dt="2023-05-15T14:09:52.607" v="2237" actId="20577"/>
        <pc:sldMkLst>
          <pc:docMk/>
          <pc:sldMk cId="3447336278" sldId="422"/>
        </pc:sldMkLst>
        <pc:spChg chg="del">
          <ac:chgData name="Kysova, Kristina" userId="d72eb140-5aa7-4564-b5f3-50dab44f6c62" providerId="ADAL" clId="{2F9E49F3-4C53-49F1-AAD0-CCF67C10B76C}" dt="2023-05-15T10:53:34.154" v="178" actId="26606"/>
          <ac:spMkLst>
            <pc:docMk/>
            <pc:sldMk cId="3447336278" sldId="422"/>
            <ac:spMk id="2" creationId="{B22EECEF-14F8-C922-AB4C-7C9C8AD700D7}"/>
          </ac:spMkLst>
        </pc:spChg>
        <pc:spChg chg="del">
          <ac:chgData name="Kysova, Kristina" userId="d72eb140-5aa7-4564-b5f3-50dab44f6c62" providerId="ADAL" clId="{2F9E49F3-4C53-49F1-AAD0-CCF67C10B76C}" dt="2023-05-15T10:53:21.786" v="177" actId="22"/>
          <ac:spMkLst>
            <pc:docMk/>
            <pc:sldMk cId="3447336278" sldId="422"/>
            <ac:spMk id="3" creationId="{981DCF65-FC15-3701-9514-55AE79F02C76}"/>
          </ac:spMkLst>
        </pc:spChg>
        <pc:spChg chg="mod">
          <ac:chgData name="Kysova, Kristina" userId="d72eb140-5aa7-4564-b5f3-50dab44f6c62" providerId="ADAL" clId="{2F9E49F3-4C53-49F1-AAD0-CCF67C10B76C}" dt="2023-05-15T12:06:21.395" v="1918" actId="6549"/>
          <ac:spMkLst>
            <pc:docMk/>
            <pc:sldMk cId="3447336278" sldId="422"/>
            <ac:spMk id="4" creationId="{B030302E-9AEE-FF01-A8F9-C4CCBC78C762}"/>
          </ac:spMkLst>
        </pc:spChg>
        <pc:spChg chg="del">
          <ac:chgData name="Kysova, Kristina" userId="d72eb140-5aa7-4564-b5f3-50dab44f6c62" providerId="ADAL" clId="{2F9E49F3-4C53-49F1-AAD0-CCF67C10B76C}" dt="2023-05-15T10:53:34.154" v="178" actId="26606"/>
          <ac:spMkLst>
            <pc:docMk/>
            <pc:sldMk cId="3447336278" sldId="422"/>
            <ac:spMk id="5" creationId="{7AFA779F-45A6-320E-1691-97F3125E462D}"/>
          </ac:spMkLst>
        </pc:spChg>
        <pc:spChg chg="add mod">
          <ac:chgData name="Kysova, Kristina" userId="d72eb140-5aa7-4564-b5f3-50dab44f6c62" providerId="ADAL" clId="{2F9E49F3-4C53-49F1-AAD0-CCF67C10B76C}" dt="2023-05-15T14:09:52.607" v="2237" actId="20577"/>
          <ac:spMkLst>
            <pc:docMk/>
            <pc:sldMk cId="3447336278" sldId="422"/>
            <ac:spMk id="12" creationId="{B35C312C-7BFC-5FA4-08A8-C40D00C06922}"/>
          </ac:spMkLst>
        </pc:spChg>
        <pc:picChg chg="add mod ord">
          <ac:chgData name="Kysova, Kristina" userId="d72eb140-5aa7-4564-b5f3-50dab44f6c62" providerId="ADAL" clId="{2F9E49F3-4C53-49F1-AAD0-CCF67C10B76C}" dt="2023-05-15T10:53:34.154" v="178" actId="26606"/>
          <ac:picMkLst>
            <pc:docMk/>
            <pc:sldMk cId="3447336278" sldId="422"/>
            <ac:picMk id="7" creationId="{510C81CC-76C3-F8F9-C3FB-D586A90C150F}"/>
          </ac:picMkLst>
        </pc:picChg>
      </pc:sldChg>
      <pc:sldChg chg="addSp delSp modSp new mod modClrScheme chgLayout">
        <pc:chgData name="Kysova, Kristina" userId="d72eb140-5aa7-4564-b5f3-50dab44f6c62" providerId="ADAL" clId="{2F9E49F3-4C53-49F1-AAD0-CCF67C10B76C}" dt="2023-05-15T14:20:22.839" v="2262" actId="1076"/>
        <pc:sldMkLst>
          <pc:docMk/>
          <pc:sldMk cId="1080633154" sldId="423"/>
        </pc:sldMkLst>
        <pc:spChg chg="del">
          <ac:chgData name="Kysova, Kristina" userId="d72eb140-5aa7-4564-b5f3-50dab44f6c62" providerId="ADAL" clId="{2F9E49F3-4C53-49F1-AAD0-CCF67C10B76C}" dt="2023-05-15T10:55:12.856" v="200" actId="22"/>
          <ac:spMkLst>
            <pc:docMk/>
            <pc:sldMk cId="1080633154" sldId="423"/>
            <ac:spMk id="2" creationId="{CB8695AE-E52D-203C-C02D-7B035E387D5F}"/>
          </ac:spMkLst>
        </pc:spChg>
        <pc:spChg chg="add mod">
          <ac:chgData name="Kysova, Kristina" userId="d72eb140-5aa7-4564-b5f3-50dab44f6c62" providerId="ADAL" clId="{2F9E49F3-4C53-49F1-AAD0-CCF67C10B76C}" dt="2023-05-15T13:28:57.091" v="2018" actId="27636"/>
          <ac:spMkLst>
            <pc:docMk/>
            <pc:sldMk cId="1080633154" sldId="423"/>
            <ac:spMk id="6" creationId="{ACD324F3-9DF3-F1A1-51B9-5BF166D15378}"/>
          </ac:spMkLst>
        </pc:spChg>
        <pc:spChg chg="add mod">
          <ac:chgData name="Kysova, Kristina" userId="d72eb140-5aa7-4564-b5f3-50dab44f6c62" providerId="ADAL" clId="{2F9E49F3-4C53-49F1-AAD0-CCF67C10B76C}" dt="2023-05-15T10:55:56.188" v="235" actId="26606"/>
          <ac:spMkLst>
            <pc:docMk/>
            <pc:sldMk cId="1080633154" sldId="423"/>
            <ac:spMk id="7" creationId="{F64AF30C-E200-E1CA-D61E-66816D8FAA7A}"/>
          </ac:spMkLst>
        </pc:spChg>
        <pc:spChg chg="add mod">
          <ac:chgData name="Kysova, Kristina" userId="d72eb140-5aa7-4564-b5f3-50dab44f6c62" providerId="ADAL" clId="{2F9E49F3-4C53-49F1-AAD0-CCF67C10B76C}" dt="2023-05-15T11:01:06.374" v="270" actId="1076"/>
          <ac:spMkLst>
            <pc:docMk/>
            <pc:sldMk cId="1080633154" sldId="423"/>
            <ac:spMk id="8" creationId="{878E7850-1F47-6EF5-9287-B3BBA1229087}"/>
          </ac:spMkLst>
        </pc:spChg>
        <pc:spChg chg="add del mod">
          <ac:chgData name="Kysova, Kristina" userId="d72eb140-5aa7-4564-b5f3-50dab44f6c62" providerId="ADAL" clId="{2F9E49F3-4C53-49F1-AAD0-CCF67C10B76C}" dt="2023-05-15T10:55:23.489" v="202" actId="26606"/>
          <ac:spMkLst>
            <pc:docMk/>
            <pc:sldMk cId="1080633154" sldId="423"/>
            <ac:spMk id="9" creationId="{ACD324F3-9DF3-F1A1-51B9-5BF166D15378}"/>
          </ac:spMkLst>
        </pc:spChg>
        <pc:spChg chg="add del mod">
          <ac:chgData name="Kysova, Kristina" userId="d72eb140-5aa7-4564-b5f3-50dab44f6c62" providerId="ADAL" clId="{2F9E49F3-4C53-49F1-AAD0-CCF67C10B76C}" dt="2023-05-15T10:55:23.489" v="202" actId="26606"/>
          <ac:spMkLst>
            <pc:docMk/>
            <pc:sldMk cId="1080633154" sldId="423"/>
            <ac:spMk id="11" creationId="{F64AF30C-E200-E1CA-D61E-66816D8FAA7A}"/>
          </ac:spMkLst>
        </pc:spChg>
        <pc:picChg chg="add del mod ord modCrop">
          <ac:chgData name="Kysova, Kristina" userId="d72eb140-5aa7-4564-b5f3-50dab44f6c62" providerId="ADAL" clId="{2F9E49F3-4C53-49F1-AAD0-CCF67C10B76C}" dt="2023-05-15T10:59:17.661" v="256" actId="478"/>
          <ac:picMkLst>
            <pc:docMk/>
            <pc:sldMk cId="1080633154" sldId="423"/>
            <ac:picMk id="4" creationId="{F15842BD-A85A-C47D-4B85-5FBF0EF066B0}"/>
          </ac:picMkLst>
        </pc:picChg>
        <pc:picChg chg="add del mod">
          <ac:chgData name="Kysova, Kristina" userId="d72eb140-5aa7-4564-b5f3-50dab44f6c62" providerId="ADAL" clId="{2F9E49F3-4C53-49F1-AAD0-CCF67C10B76C}" dt="2023-05-15T11:00:08.495" v="264" actId="478"/>
          <ac:picMkLst>
            <pc:docMk/>
            <pc:sldMk cId="1080633154" sldId="423"/>
            <ac:picMk id="12" creationId="{A47844F7-98BD-D005-80AC-55FACEA035FA}"/>
          </ac:picMkLst>
        </pc:picChg>
        <pc:picChg chg="add mod">
          <ac:chgData name="Kysova, Kristina" userId="d72eb140-5aa7-4564-b5f3-50dab44f6c62" providerId="ADAL" clId="{2F9E49F3-4C53-49F1-AAD0-CCF67C10B76C}" dt="2023-05-15T14:20:22.839" v="2262" actId="1076"/>
          <ac:picMkLst>
            <pc:docMk/>
            <pc:sldMk cId="1080633154" sldId="423"/>
            <ac:picMk id="14" creationId="{6C4874BF-0FCE-D2AA-2907-A3B94D8AACBD}"/>
          </ac:picMkLst>
        </pc:picChg>
      </pc:sldChg>
      <pc:sldChg chg="addSp delSp modSp new del mod modClrScheme chgLayout">
        <pc:chgData name="Kysova, Kristina" userId="d72eb140-5aa7-4564-b5f3-50dab44f6c62" providerId="ADAL" clId="{2F9E49F3-4C53-49F1-AAD0-CCF67C10B76C}" dt="2023-05-15T10:58:50.692" v="255" actId="47"/>
        <pc:sldMkLst>
          <pc:docMk/>
          <pc:sldMk cId="326793225" sldId="424"/>
        </pc:sldMkLst>
        <pc:spChg chg="del">
          <ac:chgData name="Kysova, Kristina" userId="d72eb140-5aa7-4564-b5f3-50dab44f6c62" providerId="ADAL" clId="{2F9E49F3-4C53-49F1-AAD0-CCF67C10B76C}" dt="2023-05-15T10:57:20.900" v="242" actId="26606"/>
          <ac:spMkLst>
            <pc:docMk/>
            <pc:sldMk cId="326793225" sldId="424"/>
            <ac:spMk id="2" creationId="{6F7E8EA9-6331-DEF2-5E91-1731185C5BF6}"/>
          </ac:spMkLst>
        </pc:spChg>
        <pc:spChg chg="add mod">
          <ac:chgData name="Kysova, Kristina" userId="d72eb140-5aa7-4564-b5f3-50dab44f6c62" providerId="ADAL" clId="{2F9E49F3-4C53-49F1-AAD0-CCF67C10B76C}" dt="2023-05-15T10:57:20.900" v="242" actId="26606"/>
          <ac:spMkLst>
            <pc:docMk/>
            <pc:sldMk cId="326793225" sldId="424"/>
            <ac:spMk id="9" creationId="{53D1643F-7259-F20A-8A89-45E734130289}"/>
          </ac:spMkLst>
        </pc:spChg>
        <pc:spChg chg="add mod">
          <ac:chgData name="Kysova, Kristina" userId="d72eb140-5aa7-4564-b5f3-50dab44f6c62" providerId="ADAL" clId="{2F9E49F3-4C53-49F1-AAD0-CCF67C10B76C}" dt="2023-05-15T10:57:20.900" v="242" actId="26606"/>
          <ac:spMkLst>
            <pc:docMk/>
            <pc:sldMk cId="326793225" sldId="424"/>
            <ac:spMk id="11" creationId="{15E56B7D-EE24-6340-64BB-0D443DB5F578}"/>
          </ac:spMkLst>
        </pc:spChg>
        <pc:picChg chg="add del mod">
          <ac:chgData name="Kysova, Kristina" userId="d72eb140-5aa7-4564-b5f3-50dab44f6c62" providerId="ADAL" clId="{2F9E49F3-4C53-49F1-AAD0-CCF67C10B76C}" dt="2023-05-15T10:58:23.812" v="251" actId="478"/>
          <ac:picMkLst>
            <pc:docMk/>
            <pc:sldMk cId="326793225" sldId="424"/>
            <ac:picMk id="4" creationId="{88F78C4F-41EB-BC68-DC93-D9D6F81101E9}"/>
          </ac:picMkLst>
        </pc:picChg>
      </pc:sldChg>
      <pc:sldChg chg="addSp modSp new del mod">
        <pc:chgData name="Kysova, Kristina" userId="d72eb140-5aa7-4564-b5f3-50dab44f6c62" providerId="ADAL" clId="{2F9E49F3-4C53-49F1-AAD0-CCF67C10B76C}" dt="2023-05-15T13:14:34.264" v="1944" actId="47"/>
        <pc:sldMkLst>
          <pc:docMk/>
          <pc:sldMk cId="3318087369" sldId="424"/>
        </pc:sldMkLst>
        <pc:spChg chg="mod">
          <ac:chgData name="Kysova, Kristina" userId="d72eb140-5aa7-4564-b5f3-50dab44f6c62" providerId="ADAL" clId="{2F9E49F3-4C53-49F1-AAD0-CCF67C10B76C}" dt="2023-05-15T11:02:33.357" v="279" actId="6549"/>
          <ac:spMkLst>
            <pc:docMk/>
            <pc:sldMk cId="3318087369" sldId="424"/>
            <ac:spMk id="4" creationId="{E6B0C9B9-C342-C509-39D6-A3FE36B2763D}"/>
          </ac:spMkLst>
        </pc:spChg>
        <pc:picChg chg="add mod">
          <ac:chgData name="Kysova, Kristina" userId="d72eb140-5aa7-4564-b5f3-50dab44f6c62" providerId="ADAL" clId="{2F9E49F3-4C53-49F1-AAD0-CCF67C10B76C}" dt="2023-05-15T11:02:07.956" v="276" actId="14100"/>
          <ac:picMkLst>
            <pc:docMk/>
            <pc:sldMk cId="3318087369" sldId="424"/>
            <ac:picMk id="7" creationId="{2CA4B236-E4BC-9D69-D0C2-3FE963FDBFB3}"/>
          </ac:picMkLst>
        </pc:picChg>
      </pc:sldChg>
      <pc:sldChg chg="addSp modSp new del mod">
        <pc:chgData name="Kysova, Kristina" userId="d72eb140-5aa7-4564-b5f3-50dab44f6c62" providerId="ADAL" clId="{2F9E49F3-4C53-49F1-AAD0-CCF67C10B76C}" dt="2023-05-15T11:11:29.263" v="352" actId="47"/>
        <pc:sldMkLst>
          <pc:docMk/>
          <pc:sldMk cId="461593058" sldId="425"/>
        </pc:sldMkLst>
        <pc:graphicFrameChg chg="add modGraphic">
          <ac:chgData name="Kysova, Kristina" userId="d72eb140-5aa7-4564-b5f3-50dab44f6c62" providerId="ADAL" clId="{2F9E49F3-4C53-49F1-AAD0-CCF67C10B76C}" dt="2023-05-15T11:11:11.957" v="351" actId="14100"/>
          <ac:graphicFrameMkLst>
            <pc:docMk/>
            <pc:sldMk cId="461593058" sldId="425"/>
            <ac:graphicFrameMk id="3" creationId="{FE19705A-550D-DBEF-8D53-015D8862E0E6}"/>
          </ac:graphicFrameMkLst>
        </pc:graphicFrameChg>
      </pc:sldChg>
      <pc:sldChg chg="modSp new del mod">
        <pc:chgData name="Kysova, Kristina" userId="d72eb140-5aa7-4564-b5f3-50dab44f6c62" providerId="ADAL" clId="{2F9E49F3-4C53-49F1-AAD0-CCF67C10B76C}" dt="2023-05-15T11:56:31.846" v="1626" actId="47"/>
        <pc:sldMkLst>
          <pc:docMk/>
          <pc:sldMk cId="1101322143" sldId="425"/>
        </pc:sldMkLst>
        <pc:spChg chg="mod">
          <ac:chgData name="Kysova, Kristina" userId="d72eb140-5aa7-4564-b5f3-50dab44f6c62" providerId="ADAL" clId="{2F9E49F3-4C53-49F1-AAD0-CCF67C10B76C}" dt="2023-05-15T11:33:38.911" v="546" actId="20577"/>
          <ac:spMkLst>
            <pc:docMk/>
            <pc:sldMk cId="1101322143" sldId="425"/>
            <ac:spMk id="2" creationId="{642F4B24-1E80-023D-67D3-21F4DFCF7561}"/>
          </ac:spMkLst>
        </pc:spChg>
        <pc:spChg chg="mod">
          <ac:chgData name="Kysova, Kristina" userId="d72eb140-5aa7-4564-b5f3-50dab44f6c62" providerId="ADAL" clId="{2F9E49F3-4C53-49F1-AAD0-CCF67C10B76C}" dt="2023-05-15T11:35:40.793" v="753" actId="20577"/>
          <ac:spMkLst>
            <pc:docMk/>
            <pc:sldMk cId="1101322143" sldId="425"/>
            <ac:spMk id="3" creationId="{17485A2E-AAA5-001B-79E0-88F59D1346E1}"/>
          </ac:spMkLst>
        </pc:spChg>
      </pc:sldChg>
      <pc:sldChg chg="new del">
        <pc:chgData name="Kysova, Kristina" userId="d72eb140-5aa7-4564-b5f3-50dab44f6c62" providerId="ADAL" clId="{2F9E49F3-4C53-49F1-AAD0-CCF67C10B76C}" dt="2023-05-15T11:07:19.489" v="288" actId="47"/>
        <pc:sldMkLst>
          <pc:docMk/>
          <pc:sldMk cId="1366368248" sldId="425"/>
        </pc:sldMkLst>
      </pc:sldChg>
      <pc:sldChg chg="new del">
        <pc:chgData name="Kysova, Kristina" userId="d72eb140-5aa7-4564-b5f3-50dab44f6c62" providerId="ADAL" clId="{2F9E49F3-4C53-49F1-AAD0-CCF67C10B76C}" dt="2023-05-15T11:22:54.264" v="383" actId="47"/>
        <pc:sldMkLst>
          <pc:docMk/>
          <pc:sldMk cId="1446705457" sldId="425"/>
        </pc:sldMkLst>
      </pc:sldChg>
      <pc:sldChg chg="new del">
        <pc:chgData name="Kysova, Kristina" userId="d72eb140-5aa7-4564-b5f3-50dab44f6c62" providerId="ADAL" clId="{2F9E49F3-4C53-49F1-AAD0-CCF67C10B76C}" dt="2023-05-15T11:05:08.358" v="282" actId="47"/>
        <pc:sldMkLst>
          <pc:docMk/>
          <pc:sldMk cId="3973664953" sldId="425"/>
        </pc:sldMkLst>
      </pc:sldChg>
      <pc:sldChg chg="addSp delSp new del mod">
        <pc:chgData name="Kysova, Kristina" userId="d72eb140-5aa7-4564-b5f3-50dab44f6c62" providerId="ADAL" clId="{2F9E49F3-4C53-49F1-AAD0-CCF67C10B76C}" dt="2023-05-15T11:36:24.854" v="758" actId="47"/>
        <pc:sldMkLst>
          <pc:docMk/>
          <pc:sldMk cId="1718653534" sldId="426"/>
        </pc:sldMkLst>
        <pc:spChg chg="add del">
          <ac:chgData name="Kysova, Kristina" userId="d72eb140-5aa7-4564-b5f3-50dab44f6c62" providerId="ADAL" clId="{2F9E49F3-4C53-49F1-AAD0-CCF67C10B76C}" dt="2023-05-15T11:36:17.714" v="756" actId="22"/>
          <ac:spMkLst>
            <pc:docMk/>
            <pc:sldMk cId="1718653534" sldId="426"/>
            <ac:spMk id="7" creationId="{A07D22D8-4DF4-D16A-C144-EAC93774546D}"/>
          </ac:spMkLst>
        </pc:spChg>
      </pc:sldChg>
      <pc:sldChg chg="modSp add del mod">
        <pc:chgData name="Kysova, Kristina" userId="d72eb140-5aa7-4564-b5f3-50dab44f6c62" providerId="ADAL" clId="{2F9E49F3-4C53-49F1-AAD0-CCF67C10B76C}" dt="2023-05-15T13:00:21.462" v="1938" actId="47"/>
        <pc:sldMkLst>
          <pc:docMk/>
          <pc:sldMk cId="375272231" sldId="427"/>
        </pc:sldMkLst>
        <pc:spChg chg="mod">
          <ac:chgData name="Kysova, Kristina" userId="d72eb140-5aa7-4564-b5f3-50dab44f6c62" providerId="ADAL" clId="{2F9E49F3-4C53-49F1-AAD0-CCF67C10B76C}" dt="2023-05-15T12:04:53.615" v="1904" actId="2711"/>
          <ac:spMkLst>
            <pc:docMk/>
            <pc:sldMk cId="375272231" sldId="427"/>
            <ac:spMk id="1084" creationId="{00000000-0000-0000-0000-000000000000}"/>
          </ac:spMkLst>
        </pc:spChg>
        <pc:graphicFrameChg chg="mod modGraphic">
          <ac:chgData name="Kysova, Kristina" userId="d72eb140-5aa7-4564-b5f3-50dab44f6c62" providerId="ADAL" clId="{2F9E49F3-4C53-49F1-AAD0-CCF67C10B76C}" dt="2023-05-15T12:01:17.939" v="1865" actId="20577"/>
          <ac:graphicFrameMkLst>
            <pc:docMk/>
            <pc:sldMk cId="375272231" sldId="427"/>
            <ac:graphicFrameMk id="1086" creationId="{00000000-0000-0000-0000-000000000000}"/>
          </ac:graphicFrameMkLst>
        </pc:graphicFrameChg>
      </pc:sldChg>
      <pc:sldChg chg="addSp new del mod">
        <pc:chgData name="Kysova, Kristina" userId="d72eb140-5aa7-4564-b5f3-50dab44f6c62" providerId="ADAL" clId="{2F9E49F3-4C53-49F1-AAD0-CCF67C10B76C}" dt="2023-05-15T12:59:28.591" v="1929" actId="47"/>
        <pc:sldMkLst>
          <pc:docMk/>
          <pc:sldMk cId="3172110903" sldId="428"/>
        </pc:sldMkLst>
        <pc:spChg chg="add">
          <ac:chgData name="Kysova, Kristina" userId="d72eb140-5aa7-4564-b5f3-50dab44f6c62" providerId="ADAL" clId="{2F9E49F3-4C53-49F1-AAD0-CCF67C10B76C}" dt="2023-05-15T12:59:13.449" v="1927" actId="22"/>
          <ac:spMkLst>
            <pc:docMk/>
            <pc:sldMk cId="3172110903" sldId="428"/>
            <ac:spMk id="7" creationId="{4572235F-3E6B-8047-4CD0-6CA23CFD5376}"/>
          </ac:spMkLst>
        </pc:spChg>
      </pc:sldChg>
      <pc:sldChg chg="modSp new del mod">
        <pc:chgData name="Kysova, Kristina" userId="d72eb140-5aa7-4564-b5f3-50dab44f6c62" providerId="ADAL" clId="{2F9E49F3-4C53-49F1-AAD0-CCF67C10B76C}" dt="2023-05-15T12:58:36.024" v="1925" actId="680"/>
        <pc:sldMkLst>
          <pc:docMk/>
          <pc:sldMk cId="3439009362" sldId="428"/>
        </pc:sldMkLst>
        <pc:spChg chg="mod">
          <ac:chgData name="Kysova, Kristina" userId="d72eb140-5aa7-4564-b5f3-50dab44f6c62" providerId="ADAL" clId="{2F9E49F3-4C53-49F1-AAD0-CCF67C10B76C}" dt="2023-05-15T12:58:35.455" v="1924"/>
          <ac:spMkLst>
            <pc:docMk/>
            <pc:sldMk cId="3439009362" sldId="428"/>
            <ac:spMk id="2" creationId="{EF79D479-0C13-FD8C-A55B-B1514AFBC8E7}"/>
          </ac:spMkLst>
        </pc:spChg>
        <pc:spChg chg="mod">
          <ac:chgData name="Kysova, Kristina" userId="d72eb140-5aa7-4564-b5f3-50dab44f6c62" providerId="ADAL" clId="{2F9E49F3-4C53-49F1-AAD0-CCF67C10B76C}" dt="2023-05-15T12:58:34.136" v="1923"/>
          <ac:spMkLst>
            <pc:docMk/>
            <pc:sldMk cId="3439009362" sldId="428"/>
            <ac:spMk id="3" creationId="{2EA51501-924B-A351-0111-607FB8A7D3E9}"/>
          </ac:spMkLst>
        </pc:spChg>
      </pc:sldChg>
      <pc:sldChg chg="addSp delSp modSp add mod">
        <pc:chgData name="Kysova, Kristina" userId="d72eb140-5aa7-4564-b5f3-50dab44f6c62" providerId="ADAL" clId="{2F9E49F3-4C53-49F1-AAD0-CCF67C10B76C}" dt="2023-05-15T13:00:15.672" v="1937" actId="1076"/>
        <pc:sldMkLst>
          <pc:docMk/>
          <pc:sldMk cId="2996279300" sldId="429"/>
        </pc:sldMkLst>
        <pc:spChg chg="add del mod">
          <ac:chgData name="Kysova, Kristina" userId="d72eb140-5aa7-4564-b5f3-50dab44f6c62" providerId="ADAL" clId="{2F9E49F3-4C53-49F1-AAD0-CCF67C10B76C}" dt="2023-05-15T13:00:08.772" v="1936" actId="478"/>
          <ac:spMkLst>
            <pc:docMk/>
            <pc:sldMk cId="2996279300" sldId="429"/>
            <ac:spMk id="3" creationId="{1F6FC3C1-9902-0A86-85B7-F8942D87B790}"/>
          </ac:spMkLst>
        </pc:spChg>
        <pc:spChg chg="mod">
          <ac:chgData name="Kysova, Kristina" userId="d72eb140-5aa7-4564-b5f3-50dab44f6c62" providerId="ADAL" clId="{2F9E49F3-4C53-49F1-AAD0-CCF67C10B76C}" dt="2023-05-15T12:59:46.777" v="1933" actId="27636"/>
          <ac:spMkLst>
            <pc:docMk/>
            <pc:sldMk cId="2996279300" sldId="429"/>
            <ac:spMk id="12" creationId="{B35C312C-7BFC-5FA4-08A8-C40D00C06922}"/>
          </ac:spMkLst>
        </pc:spChg>
        <pc:graphicFrameChg chg="add mod">
          <ac:chgData name="Kysova, Kristina" userId="d72eb140-5aa7-4564-b5f3-50dab44f6c62" providerId="ADAL" clId="{2F9E49F3-4C53-49F1-AAD0-CCF67C10B76C}" dt="2023-05-15T13:00:15.672" v="1937" actId="1076"/>
          <ac:graphicFrameMkLst>
            <pc:docMk/>
            <pc:sldMk cId="2996279300" sldId="429"/>
            <ac:graphicFrameMk id="5" creationId="{31D93316-1738-76BA-A018-EE1348173CF3}"/>
          </ac:graphicFrameMkLst>
        </pc:graphicFrameChg>
        <pc:picChg chg="del">
          <ac:chgData name="Kysova, Kristina" userId="d72eb140-5aa7-4564-b5f3-50dab44f6c62" providerId="ADAL" clId="{2F9E49F3-4C53-49F1-AAD0-CCF67C10B76C}" dt="2023-05-15T12:59:56.542" v="1934" actId="478"/>
          <ac:picMkLst>
            <pc:docMk/>
            <pc:sldMk cId="2996279300" sldId="429"/>
            <ac:picMk id="7" creationId="{510C81CC-76C3-F8F9-C3FB-D586A90C150F}"/>
          </ac:picMkLst>
        </pc:picChg>
      </pc:sldChg>
      <pc:sldChg chg="delSp modSp add mod">
        <pc:chgData name="Kysova, Kristina" userId="d72eb140-5aa7-4564-b5f3-50dab44f6c62" providerId="ADAL" clId="{2F9E49F3-4C53-49F1-AAD0-CCF67C10B76C}" dt="2023-05-15T14:13:14.539" v="2247" actId="478"/>
        <pc:sldMkLst>
          <pc:docMk/>
          <pc:sldMk cId="0" sldId="430"/>
        </pc:sldMkLst>
        <pc:spChg chg="mod">
          <ac:chgData name="Kysova, Kristina" userId="d72eb140-5aa7-4564-b5f3-50dab44f6c62" providerId="ADAL" clId="{2F9E49F3-4C53-49F1-AAD0-CCF67C10B76C}" dt="2023-05-15T14:12:26.313" v="2244" actId="207"/>
          <ac:spMkLst>
            <pc:docMk/>
            <pc:sldMk cId="0" sldId="430"/>
            <ac:spMk id="1176" creationId="{00000000-0000-0000-0000-000000000000}"/>
          </ac:spMkLst>
        </pc:spChg>
        <pc:spChg chg="del mod">
          <ac:chgData name="Kysova, Kristina" userId="d72eb140-5aa7-4564-b5f3-50dab44f6c62" providerId="ADAL" clId="{2F9E49F3-4C53-49F1-AAD0-CCF67C10B76C}" dt="2023-05-15T14:13:14.539" v="2247" actId="478"/>
          <ac:spMkLst>
            <pc:docMk/>
            <pc:sldMk cId="0" sldId="430"/>
            <ac:spMk id="1178" creationId="{00000000-0000-0000-0000-000000000000}"/>
          </ac:spMkLst>
        </pc:spChg>
        <pc:spChg chg="mod">
          <ac:chgData name="Kysova, Kristina" userId="d72eb140-5aa7-4564-b5f3-50dab44f6c62" providerId="ADAL" clId="{2F9E49F3-4C53-49F1-AAD0-CCF67C10B76C}" dt="2023-05-15T13:41:00.587" v="2037" actId="1076"/>
          <ac:spMkLst>
            <pc:docMk/>
            <pc:sldMk cId="0" sldId="430"/>
            <ac:spMk id="1182" creationId="{00000000-0000-0000-0000-000000000000}"/>
          </ac:spMkLst>
        </pc:spChg>
        <pc:graphicFrameChg chg="mod modGraphic">
          <ac:chgData name="Kysova, Kristina" userId="d72eb140-5aa7-4564-b5f3-50dab44f6c62" providerId="ADAL" clId="{2F9E49F3-4C53-49F1-AAD0-CCF67C10B76C}" dt="2023-05-15T14:12:00.968" v="2243" actId="207"/>
          <ac:graphicFrameMkLst>
            <pc:docMk/>
            <pc:sldMk cId="0" sldId="430"/>
            <ac:graphicFrameMk id="1177" creationId="{00000000-0000-0000-0000-000000000000}"/>
          </ac:graphicFrameMkLst>
        </pc:graphicFrameChg>
      </pc:sldChg>
      <pc:sldChg chg="addSp delSp modSp new mod ord">
        <pc:chgData name="Kysova, Kristina" userId="d72eb140-5aa7-4564-b5f3-50dab44f6c62" providerId="ADAL" clId="{2F9E49F3-4C53-49F1-AAD0-CCF67C10B76C}" dt="2023-05-15T14:23:54.873" v="2271" actId="1076"/>
        <pc:sldMkLst>
          <pc:docMk/>
          <pc:sldMk cId="3133248780" sldId="431"/>
        </pc:sldMkLst>
        <pc:spChg chg="add del mod">
          <ac:chgData name="Kysova, Kristina" userId="d72eb140-5aa7-4564-b5f3-50dab44f6c62" providerId="ADAL" clId="{2F9E49F3-4C53-49F1-AAD0-CCF67C10B76C}" dt="2023-05-15T14:18:15.157" v="2252" actId="478"/>
          <ac:spMkLst>
            <pc:docMk/>
            <pc:sldMk cId="3133248780" sldId="431"/>
            <ac:spMk id="5" creationId="{22ECCC3A-ABD8-4A48-34B6-E97B84B905AE}"/>
          </ac:spMkLst>
        </pc:spChg>
        <pc:spChg chg="add del">
          <ac:chgData name="Kysova, Kristina" userId="d72eb140-5aa7-4564-b5f3-50dab44f6c62" providerId="ADAL" clId="{2F9E49F3-4C53-49F1-AAD0-CCF67C10B76C}" dt="2023-05-15T14:18:19.327" v="2254" actId="22"/>
          <ac:spMkLst>
            <pc:docMk/>
            <pc:sldMk cId="3133248780" sldId="431"/>
            <ac:spMk id="7" creationId="{71A7DBBC-1879-0EDF-14EC-458083BAE44B}"/>
          </ac:spMkLst>
        </pc:spChg>
        <pc:picChg chg="add mod">
          <ac:chgData name="Kysova, Kristina" userId="d72eb140-5aa7-4564-b5f3-50dab44f6c62" providerId="ADAL" clId="{2F9E49F3-4C53-49F1-AAD0-CCF67C10B76C}" dt="2023-05-15T14:20:11.099" v="2261" actId="1076"/>
          <ac:picMkLst>
            <pc:docMk/>
            <pc:sldMk cId="3133248780" sldId="431"/>
            <ac:picMk id="8" creationId="{24CE14C1-4443-E920-7282-AB8521F5C6F0}"/>
          </ac:picMkLst>
        </pc:picChg>
        <pc:picChg chg="add mod">
          <ac:chgData name="Kysova, Kristina" userId="d72eb140-5aa7-4564-b5f3-50dab44f6c62" providerId="ADAL" clId="{2F9E49F3-4C53-49F1-AAD0-CCF67C10B76C}" dt="2023-05-15T14:23:54.873" v="2271" actId="1076"/>
          <ac:picMkLst>
            <pc:docMk/>
            <pc:sldMk cId="3133248780" sldId="431"/>
            <ac:picMk id="9" creationId="{4B74A61B-50AF-5295-1C46-801AAE123B83}"/>
          </ac:picMkLst>
        </pc:picChg>
      </pc:sldChg>
      <pc:sldMasterChg chg="delSldLayout">
        <pc:chgData name="Kysova, Kristina" userId="d72eb140-5aa7-4564-b5f3-50dab44f6c62" providerId="ADAL" clId="{2F9E49F3-4C53-49F1-AAD0-CCF67C10B76C}" dt="2023-05-15T10:53:37.357" v="179" actId="47"/>
        <pc:sldMasterMkLst>
          <pc:docMk/>
          <pc:sldMasterMk cId="3276242647" sldId="2147483785"/>
        </pc:sldMasterMkLst>
        <pc:sldLayoutChg chg="del">
          <pc:chgData name="Kysova, Kristina" userId="d72eb140-5aa7-4564-b5f3-50dab44f6c62" providerId="ADAL" clId="{2F9E49F3-4C53-49F1-AAD0-CCF67C10B76C}" dt="2023-05-15T10:53:37.357" v="179" actId="47"/>
          <pc:sldLayoutMkLst>
            <pc:docMk/>
            <pc:sldMasterMk cId="3276242647" sldId="2147483785"/>
            <pc:sldLayoutMk cId="2617558029" sldId="2147483784"/>
          </pc:sldLayoutMkLst>
        </pc:sldLayoutChg>
      </pc:sldMaster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mailto:kristina.kysova@tdsynnex.com"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mailto:kristina.kysova@tdsynnex.com"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CA873B-9E54-4299-93A4-07CC9A74F9E2}" type="doc">
      <dgm:prSet loTypeId="urn:microsoft.com/office/officeart/2005/8/layout/vList5" loCatId="list" qsTypeId="urn:microsoft.com/office/officeart/2005/8/quickstyle/simple4" qsCatId="simple" csTypeId="urn:microsoft.com/office/officeart/2005/8/colors/accent1_2" csCatId="accent1" phldr="1"/>
      <dgm:spPr/>
      <dgm:t>
        <a:bodyPr/>
        <a:lstStyle/>
        <a:p>
          <a:endParaRPr lang="en-US"/>
        </a:p>
      </dgm:t>
    </dgm:pt>
    <dgm:pt modelId="{AE0F4052-BBE2-45D6-9F23-0CB3F315CECA}">
      <dgm:prSet/>
      <dgm:spPr/>
      <dgm:t>
        <a:bodyPr/>
        <a:lstStyle/>
        <a:p>
          <a:r>
            <a:rPr lang="cs-CZ" dirty="0"/>
            <a:t>+420 602 142 515</a:t>
          </a:r>
          <a:endParaRPr lang="en-US" dirty="0"/>
        </a:p>
      </dgm:t>
    </dgm:pt>
    <dgm:pt modelId="{D605666E-74AB-45D4-A3B5-782FA9C00DCF}" type="parTrans" cxnId="{0AE85642-CC0F-45F9-BE53-588A1C05FB24}">
      <dgm:prSet/>
      <dgm:spPr/>
      <dgm:t>
        <a:bodyPr/>
        <a:lstStyle/>
        <a:p>
          <a:endParaRPr lang="cs-CZ"/>
        </a:p>
      </dgm:t>
    </dgm:pt>
    <dgm:pt modelId="{D0B0AA3A-6116-4662-B996-A2148F0724AA}" type="sibTrans" cxnId="{0AE85642-CC0F-45F9-BE53-588A1C05FB24}">
      <dgm:prSet/>
      <dgm:spPr/>
      <dgm:t>
        <a:bodyPr/>
        <a:lstStyle/>
        <a:p>
          <a:endParaRPr lang="cs-CZ"/>
        </a:p>
      </dgm:t>
    </dgm:pt>
    <dgm:pt modelId="{A96D20BB-6F54-4064-B6F7-C52E1AAD1570}">
      <dgm:prSet custT="1"/>
      <dgm:spPr/>
      <dgm:t>
        <a:bodyPr/>
        <a:lstStyle/>
        <a:p>
          <a:r>
            <a:rPr lang="cs-CZ" sz="2000" dirty="0"/>
            <a:t>Kristína </a:t>
          </a:r>
          <a:r>
            <a:rPr lang="cs-CZ" sz="2000" dirty="0" err="1"/>
            <a:t>Kyšová</a:t>
          </a:r>
          <a:endParaRPr lang="cs-CZ" sz="2000" dirty="0"/>
        </a:p>
        <a:p>
          <a:r>
            <a:rPr lang="cs-CZ" sz="1400" dirty="0"/>
            <a:t>Business Development Manager </a:t>
          </a:r>
          <a:endParaRPr lang="en-US" sz="1400" dirty="0"/>
        </a:p>
      </dgm:t>
    </dgm:pt>
    <dgm:pt modelId="{57753CC3-6172-4D48-BA5D-26299F10B4FB}" type="sibTrans" cxnId="{D5772313-F106-4B43-84E5-0E42E93E6C5A}">
      <dgm:prSet/>
      <dgm:spPr/>
      <dgm:t>
        <a:bodyPr/>
        <a:lstStyle/>
        <a:p>
          <a:endParaRPr lang="en-US"/>
        </a:p>
      </dgm:t>
    </dgm:pt>
    <dgm:pt modelId="{0AAC2D70-FD23-42CF-98E9-ED6A854574C9}" type="parTrans" cxnId="{D5772313-F106-4B43-84E5-0E42E93E6C5A}">
      <dgm:prSet/>
      <dgm:spPr/>
      <dgm:t>
        <a:bodyPr/>
        <a:lstStyle/>
        <a:p>
          <a:endParaRPr lang="en-US"/>
        </a:p>
      </dgm:t>
    </dgm:pt>
    <dgm:pt modelId="{7C8F9481-960F-4714-A53C-C482B6EF6BB4}">
      <dgm:prSet/>
      <dgm:spPr/>
      <dgm:t>
        <a:bodyPr/>
        <a:lstStyle/>
        <a:p>
          <a:r>
            <a:rPr lang="cs-CZ" b="0" i="0" baseline="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kristina.kysova@tdsynne</a:t>
          </a:r>
          <a:r>
            <a:rPr lang="cs-CZ"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x.com</a:t>
          </a:r>
          <a:endParaRPr lang="en-US" dirty="0">
            <a:solidFill>
              <a:srgbClr val="005758"/>
            </a:solidFill>
          </a:endParaRPr>
        </a:p>
      </dgm:t>
    </dgm:pt>
    <dgm:pt modelId="{F654B345-1CBE-4610-A5BA-F14DEA4110CD}" type="sibTrans" cxnId="{18EDF5A6-D1AD-45B7-81C0-E8BD826E38CE}">
      <dgm:prSet/>
      <dgm:spPr/>
      <dgm:t>
        <a:bodyPr/>
        <a:lstStyle/>
        <a:p>
          <a:endParaRPr lang="en-US"/>
        </a:p>
      </dgm:t>
    </dgm:pt>
    <dgm:pt modelId="{2CE2F4BA-0DE9-40CE-8C95-9E16DFB73916}" type="parTrans" cxnId="{18EDF5A6-D1AD-45B7-81C0-E8BD826E38CE}">
      <dgm:prSet/>
      <dgm:spPr/>
      <dgm:t>
        <a:bodyPr/>
        <a:lstStyle/>
        <a:p>
          <a:endParaRPr lang="en-US"/>
        </a:p>
      </dgm:t>
    </dgm:pt>
    <dgm:pt modelId="{B9D7369D-EA5D-45BD-A2CE-63BB410E9017}">
      <dgm:prSet/>
      <dgm:spPr/>
      <dgm:t>
        <a:bodyPr/>
        <a:lstStyle/>
        <a:p>
          <a:r>
            <a:rPr lang="cs-CZ" u="sng" dirty="0"/>
            <a:t>paloaltonetworks_cz</a:t>
          </a:r>
          <a:r>
            <a:rPr lang="cs-CZ" b="0" i="0" u="sng" baseline="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a:t>
          </a:r>
          <a:r>
            <a:rPr lang="cs-CZ" b="0" i="0" baseline="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tdsynne</a:t>
          </a:r>
          <a:r>
            <a:rPr lang="cs-CZ"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x.com</a:t>
          </a:r>
          <a:endParaRPr lang="en-US" dirty="0"/>
        </a:p>
      </dgm:t>
    </dgm:pt>
    <dgm:pt modelId="{D27B1055-FECE-43FD-AD84-9B6B2670A81E}" type="parTrans" cxnId="{13F163CC-5228-4185-96BA-522CBACA9826}">
      <dgm:prSet/>
      <dgm:spPr/>
      <dgm:t>
        <a:bodyPr/>
        <a:lstStyle/>
        <a:p>
          <a:endParaRPr lang="cs-CZ"/>
        </a:p>
      </dgm:t>
    </dgm:pt>
    <dgm:pt modelId="{7A854020-A5B4-4AD1-B102-4D3A5AC83A36}" type="sibTrans" cxnId="{13F163CC-5228-4185-96BA-522CBACA9826}">
      <dgm:prSet/>
      <dgm:spPr/>
      <dgm:t>
        <a:bodyPr/>
        <a:lstStyle/>
        <a:p>
          <a:endParaRPr lang="cs-CZ"/>
        </a:p>
      </dgm:t>
    </dgm:pt>
    <dgm:pt modelId="{1AABD977-A16A-4297-895B-E374BF8A8B07}">
      <dgm:prSet/>
      <dgm:spPr/>
      <dgm:t>
        <a:bodyPr/>
        <a:lstStyle/>
        <a:p>
          <a:endParaRPr lang="en-US" dirty="0"/>
        </a:p>
      </dgm:t>
    </dgm:pt>
    <dgm:pt modelId="{18494A79-4F2E-4040-BDC9-9609F4E100BC}" type="parTrans" cxnId="{45EAF3DF-DC8F-4773-B307-77D08BD20DED}">
      <dgm:prSet/>
      <dgm:spPr/>
      <dgm:t>
        <a:bodyPr/>
        <a:lstStyle/>
        <a:p>
          <a:endParaRPr lang="cs-CZ"/>
        </a:p>
      </dgm:t>
    </dgm:pt>
    <dgm:pt modelId="{2793B0A3-BB64-4377-80FC-E81A62CEDE28}" type="sibTrans" cxnId="{45EAF3DF-DC8F-4773-B307-77D08BD20DED}">
      <dgm:prSet/>
      <dgm:spPr/>
      <dgm:t>
        <a:bodyPr/>
        <a:lstStyle/>
        <a:p>
          <a:endParaRPr lang="cs-CZ"/>
        </a:p>
      </dgm:t>
    </dgm:pt>
    <dgm:pt modelId="{4B45C5F6-F6D5-47F7-9B24-4D024074328E}" type="pres">
      <dgm:prSet presAssocID="{FCCA873B-9E54-4299-93A4-07CC9A74F9E2}" presName="Name0" presStyleCnt="0">
        <dgm:presLayoutVars>
          <dgm:dir/>
          <dgm:animLvl val="lvl"/>
          <dgm:resizeHandles val="exact"/>
        </dgm:presLayoutVars>
      </dgm:prSet>
      <dgm:spPr/>
    </dgm:pt>
    <dgm:pt modelId="{5FB2C59B-0C82-4749-A4C7-AEA823B0B1D9}" type="pres">
      <dgm:prSet presAssocID="{A96D20BB-6F54-4064-B6F7-C52E1AAD1570}" presName="linNode" presStyleCnt="0"/>
      <dgm:spPr/>
    </dgm:pt>
    <dgm:pt modelId="{82CE691D-6096-47AC-AEF2-D5658DA2E2C1}" type="pres">
      <dgm:prSet presAssocID="{A96D20BB-6F54-4064-B6F7-C52E1AAD1570}" presName="parentText" presStyleLbl="node1" presStyleIdx="0" presStyleCnt="1">
        <dgm:presLayoutVars>
          <dgm:chMax val="1"/>
          <dgm:bulletEnabled val="1"/>
        </dgm:presLayoutVars>
      </dgm:prSet>
      <dgm:spPr/>
    </dgm:pt>
    <dgm:pt modelId="{E7C93F77-0E1B-4CED-8578-7A38C21663BA}" type="pres">
      <dgm:prSet presAssocID="{A96D20BB-6F54-4064-B6F7-C52E1AAD1570}" presName="descendantText" presStyleLbl="alignAccFollowNode1" presStyleIdx="0" presStyleCnt="1">
        <dgm:presLayoutVars>
          <dgm:bulletEnabled val="1"/>
        </dgm:presLayoutVars>
      </dgm:prSet>
      <dgm:spPr/>
    </dgm:pt>
  </dgm:ptLst>
  <dgm:cxnLst>
    <dgm:cxn modelId="{D5772313-F106-4B43-84E5-0E42E93E6C5A}" srcId="{FCCA873B-9E54-4299-93A4-07CC9A74F9E2}" destId="{A96D20BB-6F54-4064-B6F7-C52E1AAD1570}" srcOrd="0" destOrd="0" parTransId="{0AAC2D70-FD23-42CF-98E9-ED6A854574C9}" sibTransId="{57753CC3-6172-4D48-BA5D-26299F10B4FB}"/>
    <dgm:cxn modelId="{5355995C-20AD-4069-B1FA-71CDFBC1AA71}" type="presOf" srcId="{AE0F4052-BBE2-45D6-9F23-0CB3F315CECA}" destId="{E7C93F77-0E1B-4CED-8578-7A38C21663BA}" srcOrd="0" destOrd="1" presId="urn:microsoft.com/office/officeart/2005/8/layout/vList5"/>
    <dgm:cxn modelId="{0AE85642-CC0F-45F9-BE53-588A1C05FB24}" srcId="{A96D20BB-6F54-4064-B6F7-C52E1AAD1570}" destId="{AE0F4052-BBE2-45D6-9F23-0CB3F315CECA}" srcOrd="1" destOrd="0" parTransId="{D605666E-74AB-45D4-A3B5-782FA9C00DCF}" sibTransId="{D0B0AA3A-6116-4662-B996-A2148F0724AA}"/>
    <dgm:cxn modelId="{DE0C0676-6333-4537-99BB-B973B9B1A7C3}" type="presOf" srcId="{B9D7369D-EA5D-45BD-A2CE-63BB410E9017}" destId="{E7C93F77-0E1B-4CED-8578-7A38C21663BA}" srcOrd="0" destOrd="3" presId="urn:microsoft.com/office/officeart/2005/8/layout/vList5"/>
    <dgm:cxn modelId="{E2F05F90-5FB0-4C59-9EE8-491C7BCDB0B6}" type="presOf" srcId="{7C8F9481-960F-4714-A53C-C482B6EF6BB4}" destId="{E7C93F77-0E1B-4CED-8578-7A38C21663BA}" srcOrd="0" destOrd="0" presId="urn:microsoft.com/office/officeart/2005/8/layout/vList5"/>
    <dgm:cxn modelId="{FEFDBFA1-1551-4F1E-8FAC-F1A24C59092E}" type="presOf" srcId="{1AABD977-A16A-4297-895B-E374BF8A8B07}" destId="{E7C93F77-0E1B-4CED-8578-7A38C21663BA}" srcOrd="0" destOrd="2" presId="urn:microsoft.com/office/officeart/2005/8/layout/vList5"/>
    <dgm:cxn modelId="{18EDF5A6-D1AD-45B7-81C0-E8BD826E38CE}" srcId="{A96D20BB-6F54-4064-B6F7-C52E1AAD1570}" destId="{7C8F9481-960F-4714-A53C-C482B6EF6BB4}" srcOrd="0" destOrd="0" parTransId="{2CE2F4BA-0DE9-40CE-8C95-9E16DFB73916}" sibTransId="{F654B345-1CBE-4610-A5BA-F14DEA4110CD}"/>
    <dgm:cxn modelId="{2AA277A7-F401-4ECF-9608-B9723744DBB2}" type="presOf" srcId="{FCCA873B-9E54-4299-93A4-07CC9A74F9E2}" destId="{4B45C5F6-F6D5-47F7-9B24-4D024074328E}" srcOrd="0" destOrd="0" presId="urn:microsoft.com/office/officeart/2005/8/layout/vList5"/>
    <dgm:cxn modelId="{13F163CC-5228-4185-96BA-522CBACA9826}" srcId="{A96D20BB-6F54-4064-B6F7-C52E1AAD1570}" destId="{B9D7369D-EA5D-45BD-A2CE-63BB410E9017}" srcOrd="3" destOrd="0" parTransId="{D27B1055-FECE-43FD-AD84-9B6B2670A81E}" sibTransId="{7A854020-A5B4-4AD1-B102-4D3A5AC83A36}"/>
    <dgm:cxn modelId="{45EAF3DF-DC8F-4773-B307-77D08BD20DED}" srcId="{A96D20BB-6F54-4064-B6F7-C52E1AAD1570}" destId="{1AABD977-A16A-4297-895B-E374BF8A8B07}" srcOrd="2" destOrd="0" parTransId="{18494A79-4F2E-4040-BDC9-9609F4E100BC}" sibTransId="{2793B0A3-BB64-4377-80FC-E81A62CEDE28}"/>
    <dgm:cxn modelId="{7F590CED-FCC9-4A6C-9D01-E7CBB375C4E3}" type="presOf" srcId="{A96D20BB-6F54-4064-B6F7-C52E1AAD1570}" destId="{82CE691D-6096-47AC-AEF2-D5658DA2E2C1}" srcOrd="0" destOrd="0" presId="urn:microsoft.com/office/officeart/2005/8/layout/vList5"/>
    <dgm:cxn modelId="{0FD0DAD5-AA15-42BA-9D91-B205F9AA7C72}" type="presParOf" srcId="{4B45C5F6-F6D5-47F7-9B24-4D024074328E}" destId="{5FB2C59B-0C82-4749-A4C7-AEA823B0B1D9}" srcOrd="0" destOrd="0" presId="urn:microsoft.com/office/officeart/2005/8/layout/vList5"/>
    <dgm:cxn modelId="{32C095D9-6955-49FC-9571-5D16AAF5D8A0}" type="presParOf" srcId="{5FB2C59B-0C82-4749-A4C7-AEA823B0B1D9}" destId="{82CE691D-6096-47AC-AEF2-D5658DA2E2C1}" srcOrd="0" destOrd="0" presId="urn:microsoft.com/office/officeart/2005/8/layout/vList5"/>
    <dgm:cxn modelId="{9F241D41-506C-4A36-BF3F-FB28C05AEF12}" type="presParOf" srcId="{5FB2C59B-0C82-4749-A4C7-AEA823B0B1D9}" destId="{E7C93F77-0E1B-4CED-8578-7A38C21663B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C93F77-0E1B-4CED-8578-7A38C21663BA}">
      <dsp:nvSpPr>
        <dsp:cNvPr id="0" name=""/>
        <dsp:cNvSpPr/>
      </dsp:nvSpPr>
      <dsp:spPr>
        <a:xfrm rot="5400000">
          <a:off x="5350699" y="-1161382"/>
          <a:ext cx="3481070" cy="6674103"/>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r>
            <a:rPr lang="cs-CZ" sz="2900" b="0" i="0" kern="1200" baseline="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kristina.kysova@tdsynne</a:t>
          </a:r>
          <a:r>
            <a:rPr lang="cs-CZ" sz="2900" kern="120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x.com</a:t>
          </a:r>
          <a:endParaRPr lang="en-US" sz="2900" kern="1200" dirty="0">
            <a:solidFill>
              <a:srgbClr val="005758"/>
            </a:solidFill>
          </a:endParaRPr>
        </a:p>
        <a:p>
          <a:pPr marL="285750" lvl="1" indent="-285750" algn="l" defTabSz="1289050">
            <a:lnSpc>
              <a:spcPct val="90000"/>
            </a:lnSpc>
            <a:spcBef>
              <a:spcPct val="0"/>
            </a:spcBef>
            <a:spcAft>
              <a:spcPct val="15000"/>
            </a:spcAft>
            <a:buChar char="•"/>
          </a:pPr>
          <a:r>
            <a:rPr lang="cs-CZ" sz="2900" kern="1200" dirty="0"/>
            <a:t>+420 602 142 515</a:t>
          </a:r>
          <a:endParaRPr lang="en-US" sz="2900" kern="1200" dirty="0"/>
        </a:p>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r>
            <a:rPr lang="cs-CZ" sz="2900" u="sng" kern="1200" dirty="0"/>
            <a:t>paloaltonetworks_cz</a:t>
          </a:r>
          <a:r>
            <a:rPr lang="cs-CZ" sz="2900" b="0" i="0" u="sng" kern="1200" baseline="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a:t>
          </a:r>
          <a:r>
            <a:rPr lang="cs-CZ" sz="2900" b="0" i="0" kern="1200" baseline="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tdsynne</a:t>
          </a:r>
          <a:r>
            <a:rPr lang="cs-CZ" sz="2900" kern="1200" dirty="0">
              <a:solidFill>
                <a:srgbClr val="005758"/>
              </a:solidFill>
              <a:hlinkClick xmlns:r="http://schemas.openxmlformats.org/officeDocument/2006/relationships" r:id="rId1">
                <a:extLst>
                  <a:ext uri="{A12FA001-AC4F-418D-AE19-62706E023703}">
                    <ahyp:hlinkClr xmlns:ahyp="http://schemas.microsoft.com/office/drawing/2018/hyperlinkcolor" val="tx"/>
                  </a:ext>
                </a:extLst>
              </a:hlinkClick>
            </a:rPr>
            <a:t>x.com</a:t>
          </a:r>
          <a:endParaRPr lang="en-US" sz="2900" kern="1200" dirty="0"/>
        </a:p>
      </dsp:txBody>
      <dsp:txXfrm rot="-5400000">
        <a:off x="3754183" y="605066"/>
        <a:ext cx="6504171" cy="3141206"/>
      </dsp:txXfrm>
    </dsp:sp>
    <dsp:sp modelId="{82CE691D-6096-47AC-AEF2-D5658DA2E2C1}">
      <dsp:nvSpPr>
        <dsp:cNvPr id="0" name=""/>
        <dsp:cNvSpPr/>
      </dsp:nvSpPr>
      <dsp:spPr>
        <a:xfrm>
          <a:off x="0" y="0"/>
          <a:ext cx="3754183" cy="4351338"/>
        </a:xfrm>
        <a:prstGeom prst="roundRect">
          <a:avLst/>
        </a:prstGeom>
        <a:gradFill rotWithShape="0">
          <a:gsLst>
            <a:gs pos="0">
              <a:schemeClr val="accent1">
                <a:hueOff val="0"/>
                <a:satOff val="0"/>
                <a:lumOff val="0"/>
                <a:alphaOff val="0"/>
                <a:tint val="100000"/>
                <a:shade val="85000"/>
                <a:satMod val="100000"/>
                <a:lumMod val="100000"/>
              </a:schemeClr>
            </a:gs>
            <a:gs pos="100000">
              <a:schemeClr val="accent1">
                <a:hueOff val="0"/>
                <a:satOff val="0"/>
                <a:lumOff val="0"/>
                <a:alphaOff val="0"/>
                <a:tint val="90000"/>
                <a:shade val="100000"/>
                <a:satMod val="150000"/>
                <a:lumMod val="100000"/>
              </a:schemeClr>
            </a:gs>
          </a:gsLst>
          <a:path path="circle">
            <a:fillToRect l="100000" t="100000" r="100000" b="100000"/>
          </a:path>
        </a:gradFill>
        <a:ln>
          <a:noFill/>
        </a:ln>
        <a:effectLst>
          <a:outerShdw blurRad="50800" dist="12700" dir="5400000" algn="ctr" rotWithShape="0">
            <a:srgbClr val="000000">
              <a:alpha val="5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cs-CZ" sz="2000" kern="1200" dirty="0"/>
            <a:t>Kristína </a:t>
          </a:r>
          <a:r>
            <a:rPr lang="cs-CZ" sz="2000" kern="1200" dirty="0" err="1"/>
            <a:t>Kyšová</a:t>
          </a:r>
          <a:endParaRPr lang="cs-CZ" sz="2000" kern="1200" dirty="0"/>
        </a:p>
        <a:p>
          <a:pPr marL="0" lvl="0" indent="0" algn="ctr" defTabSz="889000">
            <a:lnSpc>
              <a:spcPct val="90000"/>
            </a:lnSpc>
            <a:spcBef>
              <a:spcPct val="0"/>
            </a:spcBef>
            <a:spcAft>
              <a:spcPct val="35000"/>
            </a:spcAft>
            <a:buNone/>
          </a:pPr>
          <a:r>
            <a:rPr lang="cs-CZ" sz="1400" kern="1200" dirty="0"/>
            <a:t>Business Development Manager </a:t>
          </a:r>
          <a:endParaRPr lang="en-US" sz="1400" kern="1200" dirty="0"/>
        </a:p>
      </dsp:txBody>
      <dsp:txXfrm>
        <a:off x="183264" y="183264"/>
        <a:ext cx="3387655" cy="398481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F8D84A9-2667-691F-3C5D-C713F97BD7D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0B0B6C1-9F99-6B4A-3DDC-B0E4D49F522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49BB106-0E45-4FCA-B2F9-44566340F5E3}" type="datetimeFigureOut">
              <a:rPr lang="en-GB" smtClean="0"/>
              <a:t>16/05/2023</a:t>
            </a:fld>
            <a:endParaRPr lang="en-GB"/>
          </a:p>
        </p:txBody>
      </p:sp>
      <p:sp>
        <p:nvSpPr>
          <p:cNvPr id="4" name="Footer Placeholder 3">
            <a:extLst>
              <a:ext uri="{FF2B5EF4-FFF2-40B4-BE49-F238E27FC236}">
                <a16:creationId xmlns:a16="http://schemas.microsoft.com/office/drawing/2014/main" id="{11CAF90B-DF43-5F6E-1F88-1B702CB667B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F076A7AC-0D99-7CFD-C56A-FD17F92EDDD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C44B9AD-EA61-44C2-96B7-64375DC2AB2A}" type="slidenum">
              <a:rPr lang="en-GB" smtClean="0"/>
              <a:t>‹#›</a:t>
            </a:fld>
            <a:endParaRPr lang="en-GB"/>
          </a:p>
        </p:txBody>
      </p:sp>
    </p:spTree>
    <p:extLst>
      <p:ext uri="{BB962C8B-B14F-4D97-AF65-F5344CB8AC3E}">
        <p14:creationId xmlns:p14="http://schemas.microsoft.com/office/powerpoint/2010/main" val="742692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D237CE78-46F0-774C-A9C0-449029F62686}" type="datetimeFigureOut">
              <a:rPr lang="en-US" smtClean="0"/>
              <a:pPr/>
              <a:t>5/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8A41CFDA-771F-5D47-9E6C-43224FAD81AD}" type="slidenum">
              <a:rPr lang="en-US" smtClean="0"/>
              <a:pPr/>
              <a:t>‹#›</a:t>
            </a:fld>
            <a:endParaRPr lang="en-US"/>
          </a:p>
        </p:txBody>
      </p:sp>
    </p:spTree>
    <p:extLst>
      <p:ext uri="{BB962C8B-B14F-4D97-AF65-F5344CB8AC3E}">
        <p14:creationId xmlns:p14="http://schemas.microsoft.com/office/powerpoint/2010/main" val="197795982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D169D4C4-071F-483F-815A-4531DF3FD0B7}" type="slidenum">
              <a:rPr lang="id-ID" smtClean="0"/>
              <a:t>1</a:t>
            </a:fld>
            <a:endParaRPr lang="id-ID" dirty="0"/>
          </a:p>
        </p:txBody>
      </p:sp>
    </p:spTree>
    <p:extLst>
      <p:ext uri="{BB962C8B-B14F-4D97-AF65-F5344CB8AC3E}">
        <p14:creationId xmlns:p14="http://schemas.microsoft.com/office/powerpoint/2010/main" val="2119985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g20fd93412d3_3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7" name="Google Shape;687;g20fd93412d3_3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2"/>
        <p:cNvGrpSpPr/>
        <p:nvPr/>
      </p:nvGrpSpPr>
      <p:grpSpPr>
        <a:xfrm>
          <a:off x="0" y="0"/>
          <a:ext cx="0" cy="0"/>
          <a:chOff x="0" y="0"/>
          <a:chExt cx="0" cy="0"/>
        </a:xfrm>
      </p:grpSpPr>
      <p:sp>
        <p:nvSpPr>
          <p:cNvPr id="1173" name="Google Shape;1173;g20fd93412d3_2_1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74" name="Google Shape;1174;g20fd93412d3_2_1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457200" lvl="0" indent="-292100" algn="l" rtl="0">
              <a:spcBef>
                <a:spcPts val="0"/>
              </a:spcBef>
              <a:spcAft>
                <a:spcPts val="0"/>
              </a:spcAft>
              <a:buClr>
                <a:schemeClr val="dk1"/>
              </a:buClr>
              <a:buSzPts val="1000"/>
              <a:buFont typeface="Montserrat"/>
              <a:buChar char="●"/>
            </a:pPr>
            <a:r>
              <a:rPr lang="en" sz="1000">
                <a:solidFill>
                  <a:schemeClr val="dk1"/>
                </a:solidFill>
                <a:latin typeface="Montserrat"/>
                <a:ea typeface="Montserrat"/>
                <a:cs typeface="Montserrat"/>
                <a:sym typeface="Montserrat"/>
              </a:rPr>
              <a:t>Partners have the ability to earn specialization in the PANW technology(ies) most important to their business, with an offering across the entire PANW portfolio. </a:t>
            </a:r>
            <a:endParaRPr sz="1000">
              <a:solidFill>
                <a:schemeClr val="dk1"/>
              </a:solidFill>
              <a:latin typeface="Montserrat"/>
              <a:ea typeface="Montserrat"/>
              <a:cs typeface="Montserrat"/>
              <a:sym typeface="Montserrat"/>
            </a:endParaRPr>
          </a:p>
          <a:p>
            <a:pPr marL="457200" lvl="0" indent="-292100" algn="l" rtl="0">
              <a:spcBef>
                <a:spcPts val="1000"/>
              </a:spcBef>
              <a:spcAft>
                <a:spcPts val="0"/>
              </a:spcAft>
              <a:buClr>
                <a:schemeClr val="dk1"/>
              </a:buClr>
              <a:buSzPts val="1000"/>
              <a:buFont typeface="Montserrat"/>
              <a:buChar char="●"/>
            </a:pPr>
            <a:r>
              <a:rPr lang="en" sz="1000">
                <a:solidFill>
                  <a:schemeClr val="dk1"/>
                </a:solidFill>
                <a:latin typeface="Montserrat"/>
                <a:ea typeface="Montserrat"/>
                <a:cs typeface="Montserrat"/>
                <a:sym typeface="Montserrat"/>
              </a:rPr>
              <a:t>Product Specializations include capabilities (certified sales, pre-sales and post-sales resources) and engagement (customer activity) requirements in the specific PANW technology.</a:t>
            </a:r>
            <a:endParaRPr sz="1000">
              <a:solidFill>
                <a:schemeClr val="dk1"/>
              </a:solidFill>
              <a:latin typeface="Montserrat"/>
              <a:ea typeface="Montserrat"/>
              <a:cs typeface="Montserrat"/>
              <a:sym typeface="Montserrat"/>
            </a:endParaRPr>
          </a:p>
          <a:p>
            <a:pPr marL="457200" lvl="0" indent="-292100" algn="l" rtl="0">
              <a:spcBef>
                <a:spcPts val="1000"/>
              </a:spcBef>
              <a:spcAft>
                <a:spcPts val="0"/>
              </a:spcAft>
              <a:buClr>
                <a:schemeClr val="dk1"/>
              </a:buClr>
              <a:buSzPts val="1000"/>
              <a:buFont typeface="Montserrat"/>
              <a:buChar char="●"/>
            </a:pPr>
            <a:r>
              <a:rPr lang="en" sz="1000">
                <a:solidFill>
                  <a:schemeClr val="dk1"/>
                </a:solidFill>
                <a:latin typeface="Montserrat"/>
                <a:ea typeface="Montserrat"/>
                <a:cs typeface="Montserrat"/>
                <a:sym typeface="Montserrat"/>
              </a:rPr>
              <a:t>Professional-level certifications (vs Associate) are now required to satisfy technical pre-sales and post-sales capabilities requirements. This change has been made to meet the needs of today’s market and customer demands.</a:t>
            </a:r>
            <a:endParaRPr sz="1000">
              <a:solidFill>
                <a:schemeClr val="dk1"/>
              </a:solidFill>
              <a:latin typeface="Montserrat"/>
              <a:ea typeface="Montserrat"/>
              <a:cs typeface="Montserrat"/>
              <a:sym typeface="Montserrat"/>
            </a:endParaRPr>
          </a:p>
          <a:p>
            <a:pPr marL="457200" lvl="0" indent="-292100" algn="l" rtl="0">
              <a:spcBef>
                <a:spcPts val="1000"/>
              </a:spcBef>
              <a:spcAft>
                <a:spcPts val="1000"/>
              </a:spcAft>
              <a:buClr>
                <a:schemeClr val="dk1"/>
              </a:buClr>
              <a:buSzPts val="1000"/>
              <a:buFont typeface="Montserrat"/>
              <a:buChar char="●"/>
            </a:pPr>
            <a:r>
              <a:rPr lang="en" sz="1000">
                <a:solidFill>
                  <a:schemeClr val="dk1"/>
                </a:solidFill>
                <a:latin typeface="Montserrat"/>
                <a:ea typeface="Montserrat"/>
                <a:cs typeface="Montserrat"/>
                <a:sym typeface="Montserrat"/>
              </a:rPr>
              <a:t>Customer activity is linked to the tools we provide NextWave partners, and tool usage is measured in engagement points. A minimum of 20 engagement points are required per Product Specialization.</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0"/>
        <p:cNvGrpSpPr/>
        <p:nvPr/>
      </p:nvGrpSpPr>
      <p:grpSpPr>
        <a:xfrm>
          <a:off x="0" y="0"/>
          <a:ext cx="0" cy="0"/>
          <a:chOff x="0" y="0"/>
          <a:chExt cx="0" cy="0"/>
        </a:xfrm>
      </p:grpSpPr>
      <p:sp>
        <p:nvSpPr>
          <p:cNvPr id="1081" name="Google Shape;1081;g1f5a0ee4050_0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2" name="Google Shape;1082;g1f5a0ee4050_0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al - 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5E36459-6500-F74A-A031-3A47510D72DA}"/>
              </a:ext>
            </a:extLst>
          </p:cNvPr>
          <p:cNvSpPr>
            <a:spLocks noGrp="1"/>
          </p:cNvSpPr>
          <p:nvPr>
            <p:ph type="dt" sz="half" idx="10"/>
          </p:nvPr>
        </p:nvSpPr>
        <p:spPr/>
        <p:txBody>
          <a:bodyPr/>
          <a:lstStyle/>
          <a:p>
            <a:fld id="{82D97490-2963-4B05-963E-8ADE05300E6E}" type="datetime1">
              <a:rPr lang="cs-CZ" smtClean="0"/>
              <a:t>16.05.2023</a:t>
            </a:fld>
            <a:endParaRPr lang="en-US"/>
          </a:p>
        </p:txBody>
      </p:sp>
      <p:sp>
        <p:nvSpPr>
          <p:cNvPr id="5" name="Footer Placeholder 4">
            <a:extLst>
              <a:ext uri="{FF2B5EF4-FFF2-40B4-BE49-F238E27FC236}">
                <a16:creationId xmlns:a16="http://schemas.microsoft.com/office/drawing/2014/main" id="{54B747A9-2438-954B-B26D-E4257248C1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50D4EC-D5FA-934A-97A0-7995AB9701DB}"/>
              </a:ext>
            </a:extLst>
          </p:cNvPr>
          <p:cNvSpPr>
            <a:spLocks noGrp="1"/>
          </p:cNvSpPr>
          <p:nvPr>
            <p:ph type="sldNum" sz="quarter" idx="12"/>
          </p:nvPr>
        </p:nvSpPr>
        <p:spPr/>
        <p:txBody>
          <a:bodyPr/>
          <a:lstStyle/>
          <a:p>
            <a:fld id="{7DCA3B56-ECA4-F246-9394-58426C04E9F5}" type="slidenum">
              <a:rPr lang="en-US" smtClean="0"/>
              <a:pPr/>
              <a:t>‹#›</a:t>
            </a:fld>
            <a:endParaRPr lang="en-US"/>
          </a:p>
        </p:txBody>
      </p:sp>
      <p:pic>
        <p:nvPicPr>
          <p:cNvPr id="8" name="Picture 7">
            <a:extLst>
              <a:ext uri="{FF2B5EF4-FFF2-40B4-BE49-F238E27FC236}">
                <a16:creationId xmlns:a16="http://schemas.microsoft.com/office/drawing/2014/main" id="{46082A8C-83B4-D441-9289-7537A5A65D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16549" y="363292"/>
            <a:ext cx="1820509" cy="352229"/>
          </a:xfrm>
          <a:prstGeom prst="rect">
            <a:avLst/>
          </a:prstGeom>
        </p:spPr>
      </p:pic>
      <p:sp>
        <p:nvSpPr>
          <p:cNvPr id="9" name="Title 1">
            <a:extLst>
              <a:ext uri="{FF2B5EF4-FFF2-40B4-BE49-F238E27FC236}">
                <a16:creationId xmlns:a16="http://schemas.microsoft.com/office/drawing/2014/main" id="{1F57ABE5-AF3B-EF4F-BB11-B79EA884303D}"/>
              </a:ext>
            </a:extLst>
          </p:cNvPr>
          <p:cNvSpPr>
            <a:spLocks noGrp="1"/>
          </p:cNvSpPr>
          <p:nvPr>
            <p:ph type="title"/>
          </p:nvPr>
        </p:nvSpPr>
        <p:spPr>
          <a:xfrm>
            <a:off x="925284" y="553807"/>
            <a:ext cx="10515600" cy="1325563"/>
          </a:xfrm>
          <a:prstGeom prst="rect">
            <a:avLst/>
          </a:prstGeom>
        </p:spPr>
        <p:txBody>
          <a:bodyPr/>
          <a:lstStyle/>
          <a:p>
            <a:r>
              <a:rPr lang="en-US"/>
              <a:t>Click to edit Master title style</a:t>
            </a:r>
          </a:p>
        </p:txBody>
      </p:sp>
      <p:sp>
        <p:nvSpPr>
          <p:cNvPr id="10" name="Content Placeholder 2">
            <a:extLst>
              <a:ext uri="{FF2B5EF4-FFF2-40B4-BE49-F238E27FC236}">
                <a16:creationId xmlns:a16="http://schemas.microsoft.com/office/drawing/2014/main" id="{D1DB7C6F-7F97-0B43-9321-8B71A45E36C2}"/>
              </a:ext>
            </a:extLst>
          </p:cNvPr>
          <p:cNvSpPr>
            <a:spLocks noGrp="1"/>
          </p:cNvSpPr>
          <p:nvPr>
            <p:ph idx="1"/>
          </p:nvPr>
        </p:nvSpPr>
        <p:spPr>
          <a:xfrm>
            <a:off x="925284" y="1825625"/>
            <a:ext cx="10428516"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1916DFFC-4F22-D043-9E29-352B0592A660}"/>
              </a:ext>
            </a:extLst>
          </p:cNvPr>
          <p:cNvCxnSpPr/>
          <p:nvPr userDrawn="1"/>
        </p:nvCxnSpPr>
        <p:spPr>
          <a:xfrm>
            <a:off x="1051820" y="730975"/>
            <a:ext cx="94311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5104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89E746-CA58-7241-B348-299A8B80945D}"/>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5683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6_Title Slid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2" y="2228163"/>
            <a:ext cx="6092191" cy="2991175"/>
          </a:xfrm>
          <a:prstGeom prst="rect">
            <a:avLst/>
          </a:prstGeom>
        </p:spPr>
        <p:txBody>
          <a:bodyPr/>
          <a:lstStyle/>
          <a:p>
            <a:r>
              <a:rPr lang="en-US"/>
              <a:t>Click icon to add picture</a:t>
            </a:r>
            <a:endParaRPr lang="id-ID"/>
          </a:p>
        </p:txBody>
      </p:sp>
    </p:spTree>
    <p:extLst>
      <p:ext uri="{BB962C8B-B14F-4D97-AF65-F5344CB8AC3E}">
        <p14:creationId xmlns:p14="http://schemas.microsoft.com/office/powerpoint/2010/main" val="899739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nodePh="1">
                                  <p:stCondLst>
                                    <p:cond delay="0"/>
                                  </p:stCondLst>
                                  <p:endCondLst>
                                    <p:cond evt="begin" delay="0">
                                      <p:tn val="5"/>
                                    </p:cond>
                                  </p:end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6" name="Picture Placeholder 3"/>
          <p:cNvSpPr>
            <a:spLocks noGrp="1"/>
          </p:cNvSpPr>
          <p:nvPr>
            <p:ph type="pic" sz="quarter" idx="12"/>
          </p:nvPr>
        </p:nvSpPr>
        <p:spPr>
          <a:xfrm>
            <a:off x="6096001" y="3"/>
            <a:ext cx="6096000" cy="5591908"/>
          </a:xfrm>
          <a:prstGeom prst="rect">
            <a:avLst/>
          </a:prstGeom>
        </p:spPr>
        <p:txBody>
          <a:bodyPr/>
          <a:lstStyle/>
          <a:p>
            <a:r>
              <a:rPr lang="en-US"/>
              <a:t>Click icon to add picture</a:t>
            </a:r>
            <a:endParaRPr lang="id-ID" dirty="0"/>
          </a:p>
        </p:txBody>
      </p:sp>
    </p:spTree>
    <p:extLst>
      <p:ext uri="{BB962C8B-B14F-4D97-AF65-F5344CB8AC3E}">
        <p14:creationId xmlns:p14="http://schemas.microsoft.com/office/powerpoint/2010/main" val="1523235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One-Column Content 9">
  <p:cSld name="One-Column Content 9">
    <p:spTree>
      <p:nvGrpSpPr>
        <p:cNvPr id="1" name="Shape 194"/>
        <p:cNvGrpSpPr/>
        <p:nvPr/>
      </p:nvGrpSpPr>
      <p:grpSpPr>
        <a:xfrm>
          <a:off x="0" y="0"/>
          <a:ext cx="0" cy="0"/>
          <a:chOff x="0" y="0"/>
          <a:chExt cx="0" cy="0"/>
        </a:xfrm>
      </p:grpSpPr>
      <p:sp>
        <p:nvSpPr>
          <p:cNvPr id="195" name="Google Shape;195;p41"/>
          <p:cNvSpPr txBox="1">
            <a:spLocks noGrp="1"/>
          </p:cNvSpPr>
          <p:nvPr>
            <p:ph type="title"/>
          </p:nvPr>
        </p:nvSpPr>
        <p:spPr>
          <a:xfrm>
            <a:off x="415600" y="308100"/>
            <a:ext cx="11360800" cy="763600"/>
          </a:xfrm>
          <a:prstGeom prst="rect">
            <a:avLst/>
          </a:prstGeom>
          <a:noFill/>
          <a:ln>
            <a:noFill/>
          </a:ln>
        </p:spPr>
        <p:txBody>
          <a:bodyPr spcFirstLastPara="1" wrap="square" lIns="91425" tIns="91425" rIns="91425" bIns="91425" anchor="t" anchorCtr="0">
            <a:noAutofit/>
          </a:bodyPr>
          <a:lstStyle>
            <a:lvl1pPr lvl="0" algn="l" rtl="0">
              <a:lnSpc>
                <a:spcPct val="100000"/>
              </a:lnSpc>
              <a:spcBef>
                <a:spcPts val="0"/>
              </a:spcBef>
              <a:spcAft>
                <a:spcPts val="0"/>
              </a:spcAft>
              <a:buSzPts val="1800"/>
              <a:buNone/>
              <a:defRPr sz="2400"/>
            </a:lvl1pPr>
            <a:lvl2pPr lvl="1" algn="l" rtl="0">
              <a:lnSpc>
                <a:spcPct val="100000"/>
              </a:lnSpc>
              <a:spcBef>
                <a:spcPts val="0"/>
              </a:spcBef>
              <a:spcAft>
                <a:spcPts val="0"/>
              </a:spcAft>
              <a:buSzPts val="1800"/>
              <a:buNone/>
              <a:defRPr sz="2400"/>
            </a:lvl2pPr>
            <a:lvl3pPr lvl="2" algn="l" rtl="0">
              <a:lnSpc>
                <a:spcPct val="100000"/>
              </a:lnSpc>
              <a:spcBef>
                <a:spcPts val="0"/>
              </a:spcBef>
              <a:spcAft>
                <a:spcPts val="0"/>
              </a:spcAft>
              <a:buSzPts val="1800"/>
              <a:buNone/>
              <a:defRPr sz="2400"/>
            </a:lvl3pPr>
            <a:lvl4pPr lvl="3" algn="l" rtl="0">
              <a:lnSpc>
                <a:spcPct val="100000"/>
              </a:lnSpc>
              <a:spcBef>
                <a:spcPts val="0"/>
              </a:spcBef>
              <a:spcAft>
                <a:spcPts val="0"/>
              </a:spcAft>
              <a:buSzPts val="1800"/>
              <a:buNone/>
              <a:defRPr sz="2400"/>
            </a:lvl4pPr>
            <a:lvl5pPr lvl="4" algn="l" rtl="0">
              <a:lnSpc>
                <a:spcPct val="100000"/>
              </a:lnSpc>
              <a:spcBef>
                <a:spcPts val="0"/>
              </a:spcBef>
              <a:spcAft>
                <a:spcPts val="0"/>
              </a:spcAft>
              <a:buSzPts val="1800"/>
              <a:buNone/>
              <a:defRPr sz="2400"/>
            </a:lvl5pPr>
            <a:lvl6pPr lvl="5" algn="l" rtl="0">
              <a:lnSpc>
                <a:spcPct val="100000"/>
              </a:lnSpc>
              <a:spcBef>
                <a:spcPts val="0"/>
              </a:spcBef>
              <a:spcAft>
                <a:spcPts val="0"/>
              </a:spcAft>
              <a:buSzPts val="1800"/>
              <a:buNone/>
              <a:defRPr sz="2400"/>
            </a:lvl6pPr>
            <a:lvl7pPr lvl="6" algn="l" rtl="0">
              <a:lnSpc>
                <a:spcPct val="100000"/>
              </a:lnSpc>
              <a:spcBef>
                <a:spcPts val="0"/>
              </a:spcBef>
              <a:spcAft>
                <a:spcPts val="0"/>
              </a:spcAft>
              <a:buSzPts val="1800"/>
              <a:buNone/>
              <a:defRPr sz="2400"/>
            </a:lvl7pPr>
            <a:lvl8pPr lvl="7" algn="l" rtl="0">
              <a:lnSpc>
                <a:spcPct val="100000"/>
              </a:lnSpc>
              <a:spcBef>
                <a:spcPts val="0"/>
              </a:spcBef>
              <a:spcAft>
                <a:spcPts val="0"/>
              </a:spcAft>
              <a:buSzPts val="1800"/>
              <a:buNone/>
              <a:defRPr sz="2400"/>
            </a:lvl8pPr>
            <a:lvl9pPr lvl="8" algn="l" rtl="0">
              <a:lnSpc>
                <a:spcPct val="100000"/>
              </a:lnSpc>
              <a:spcBef>
                <a:spcPts val="0"/>
              </a:spcBef>
              <a:spcAft>
                <a:spcPts val="0"/>
              </a:spcAft>
              <a:buSzPts val="1800"/>
              <a:buNone/>
              <a:defRPr sz="2400"/>
            </a:lvl9pPr>
          </a:lstStyle>
          <a:p>
            <a:endParaRPr/>
          </a:p>
        </p:txBody>
      </p:sp>
      <p:sp>
        <p:nvSpPr>
          <p:cNvPr id="196" name="Google Shape;196;p41"/>
          <p:cNvSpPr txBox="1">
            <a:spLocks noGrp="1"/>
          </p:cNvSpPr>
          <p:nvPr>
            <p:ph type="body" idx="1"/>
          </p:nvPr>
        </p:nvSpPr>
        <p:spPr>
          <a:xfrm>
            <a:off x="415600" y="1036320"/>
            <a:ext cx="11360800" cy="4555200"/>
          </a:xfrm>
          <a:prstGeom prst="rect">
            <a:avLst/>
          </a:prstGeom>
          <a:noFill/>
          <a:ln>
            <a:noFill/>
          </a:ln>
        </p:spPr>
        <p:txBody>
          <a:bodyPr spcFirstLastPara="1" wrap="square" lIns="91425" tIns="91425" rIns="91425" bIns="91425" anchor="t" anchorCtr="0">
            <a:noAutofit/>
          </a:bodyPr>
          <a:lstStyle>
            <a:lvl1pPr marL="609585" lvl="0" indent="-423323" algn="l" rtl="0">
              <a:lnSpc>
                <a:spcPct val="100000"/>
              </a:lnSpc>
              <a:spcBef>
                <a:spcPts val="0"/>
              </a:spcBef>
              <a:spcAft>
                <a:spcPts val="0"/>
              </a:spcAft>
              <a:buSzPts val="1400"/>
              <a:buChar char="●"/>
              <a:defRPr/>
            </a:lvl1pPr>
            <a:lvl2pPr marL="1219170" lvl="1" indent="-406390" algn="l" rtl="0">
              <a:lnSpc>
                <a:spcPct val="100000"/>
              </a:lnSpc>
              <a:spcBef>
                <a:spcPts val="1867"/>
              </a:spcBef>
              <a:spcAft>
                <a:spcPts val="0"/>
              </a:spcAft>
              <a:buSzPts val="1200"/>
              <a:buChar char="○"/>
              <a:defRPr sz="1600"/>
            </a:lvl2pPr>
            <a:lvl3pPr marL="1828754" lvl="2" indent="-389457" algn="l" rtl="0">
              <a:lnSpc>
                <a:spcPct val="100000"/>
              </a:lnSpc>
              <a:spcBef>
                <a:spcPts val="1600"/>
              </a:spcBef>
              <a:spcAft>
                <a:spcPts val="0"/>
              </a:spcAft>
              <a:buSzPts val="1000"/>
              <a:buChar char="■"/>
              <a:defRPr/>
            </a:lvl3pPr>
            <a:lvl4pPr marL="2438339" lvl="3" indent="-389457" algn="l" rtl="0">
              <a:lnSpc>
                <a:spcPct val="100000"/>
              </a:lnSpc>
              <a:spcBef>
                <a:spcPts val="1333"/>
              </a:spcBef>
              <a:spcAft>
                <a:spcPts val="0"/>
              </a:spcAft>
              <a:buSzPts val="1000"/>
              <a:buChar char="●"/>
              <a:defRPr/>
            </a:lvl4pPr>
            <a:lvl5pPr marL="3047924" lvl="4" indent="-389457" algn="l" rtl="0">
              <a:lnSpc>
                <a:spcPct val="100000"/>
              </a:lnSpc>
              <a:spcBef>
                <a:spcPts val="1067"/>
              </a:spcBef>
              <a:spcAft>
                <a:spcPts val="0"/>
              </a:spcAft>
              <a:buSzPts val="1000"/>
              <a:buChar char="○"/>
              <a:defRPr/>
            </a:lvl5pPr>
            <a:lvl6pPr marL="3657509" lvl="5" indent="-389457" algn="l" rtl="0">
              <a:lnSpc>
                <a:spcPct val="100000"/>
              </a:lnSpc>
              <a:spcBef>
                <a:spcPts val="800"/>
              </a:spcBef>
              <a:spcAft>
                <a:spcPts val="0"/>
              </a:spcAft>
              <a:buSzPts val="1000"/>
              <a:buChar char="■"/>
              <a:defRPr/>
            </a:lvl6pPr>
            <a:lvl7pPr marL="4267093" lvl="6" indent="-389457" algn="l" rtl="0">
              <a:lnSpc>
                <a:spcPct val="100000"/>
              </a:lnSpc>
              <a:spcBef>
                <a:spcPts val="533"/>
              </a:spcBef>
              <a:spcAft>
                <a:spcPts val="0"/>
              </a:spcAft>
              <a:buSzPts val="1000"/>
              <a:buChar char="●"/>
              <a:defRPr/>
            </a:lvl7pPr>
            <a:lvl8pPr marL="4876678" lvl="7" indent="-389457" algn="l" rtl="0">
              <a:lnSpc>
                <a:spcPct val="100000"/>
              </a:lnSpc>
              <a:spcBef>
                <a:spcPts val="533"/>
              </a:spcBef>
              <a:spcAft>
                <a:spcPts val="0"/>
              </a:spcAft>
              <a:buSzPts val="1000"/>
              <a:buChar char="○"/>
              <a:defRPr/>
            </a:lvl8pPr>
            <a:lvl9pPr marL="5486263" lvl="8" indent="-389457" algn="l" rtl="0">
              <a:lnSpc>
                <a:spcPct val="100000"/>
              </a:lnSpc>
              <a:spcBef>
                <a:spcPts val="533"/>
              </a:spcBef>
              <a:spcAft>
                <a:spcPts val="533"/>
              </a:spcAft>
              <a:buSzPts val="1000"/>
              <a:buChar char="■"/>
              <a:defRPr/>
            </a:lvl9pPr>
          </a:lstStyle>
          <a:p>
            <a:endParaRPr/>
          </a:p>
        </p:txBody>
      </p:sp>
      <p:sp>
        <p:nvSpPr>
          <p:cNvPr id="197" name="Google Shape;197;p41"/>
          <p:cNvSpPr txBox="1">
            <a:spLocks noGrp="1"/>
          </p:cNvSpPr>
          <p:nvPr>
            <p:ph type="sldNum" idx="12"/>
          </p:nvPr>
        </p:nvSpPr>
        <p:spPr>
          <a:xfrm>
            <a:off x="415600" y="6496033"/>
            <a:ext cx="3151200" cy="3620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1pPr>
            <a:lvl2pPr marL="0" marR="0" lvl="1"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2pPr>
            <a:lvl3pPr marL="0" marR="0" lvl="2"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3pPr>
            <a:lvl4pPr marL="0" marR="0" lvl="3"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4pPr>
            <a:lvl5pPr marL="0" marR="0" lvl="4"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5pPr>
            <a:lvl6pPr marL="0" marR="0" lvl="5"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6pPr>
            <a:lvl7pPr marL="0" marR="0" lvl="6"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7pPr>
            <a:lvl8pPr marL="0" marR="0" lvl="7"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8pPr>
            <a:lvl9pPr marL="0" marR="0" lvl="8" indent="0" algn="r" rtl="0">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9pPr>
          </a:lstStyle>
          <a:p>
            <a:fld id="{00000000-1234-1234-1234-123412341234}" type="slidenum">
              <a:rPr lang="en-US" smtClean="0"/>
              <a:pPr/>
              <a:t>‹#›</a:t>
            </a:fld>
            <a:r>
              <a:rPr lang="en-US" b="0"/>
              <a:t>  |  © 2021 Palo Alto Networks, Inc. All rights reserved.</a:t>
            </a:r>
            <a:endParaRPr lang="en-US"/>
          </a:p>
        </p:txBody>
      </p:sp>
    </p:spTree>
    <p:extLst>
      <p:ext uri="{BB962C8B-B14F-4D97-AF65-F5344CB8AC3E}">
        <p14:creationId xmlns:p14="http://schemas.microsoft.com/office/powerpoint/2010/main" val="29251528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9"/>
        <p:cNvGrpSpPr/>
        <p:nvPr/>
      </p:nvGrpSpPr>
      <p:grpSpPr>
        <a:xfrm>
          <a:off x="0" y="0"/>
          <a:ext cx="0" cy="0"/>
          <a:chOff x="0" y="0"/>
          <a:chExt cx="0" cy="0"/>
        </a:xfrm>
      </p:grpSpPr>
      <p:sp>
        <p:nvSpPr>
          <p:cNvPr id="20" name="Google Shape;20;p3"/>
          <p:cNvSpPr txBox="1">
            <a:spLocks noGrp="1"/>
          </p:cNvSpPr>
          <p:nvPr>
            <p:ph type="title"/>
          </p:nvPr>
        </p:nvSpPr>
        <p:spPr>
          <a:xfrm>
            <a:off x="415600" y="308100"/>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1800"/>
              <a:buNone/>
              <a:defRPr/>
            </a:lvl1pPr>
            <a:lvl2pPr lvl="1" algn="l">
              <a:lnSpc>
                <a:spcPct val="100000"/>
              </a:lnSpc>
              <a:spcBef>
                <a:spcPts val="0"/>
              </a:spcBef>
              <a:spcAft>
                <a:spcPts val="0"/>
              </a:spcAft>
              <a:buSzPts val="2000"/>
              <a:buNone/>
              <a:defRPr/>
            </a:lvl2pPr>
            <a:lvl3pPr lvl="2" algn="l">
              <a:lnSpc>
                <a:spcPct val="100000"/>
              </a:lnSpc>
              <a:spcBef>
                <a:spcPts val="0"/>
              </a:spcBef>
              <a:spcAft>
                <a:spcPts val="0"/>
              </a:spcAft>
              <a:buSzPts val="2000"/>
              <a:buNone/>
              <a:defRPr/>
            </a:lvl3pPr>
            <a:lvl4pPr lvl="3" algn="l">
              <a:lnSpc>
                <a:spcPct val="100000"/>
              </a:lnSpc>
              <a:spcBef>
                <a:spcPts val="0"/>
              </a:spcBef>
              <a:spcAft>
                <a:spcPts val="0"/>
              </a:spcAft>
              <a:buSzPts val="2000"/>
              <a:buNone/>
              <a:defRPr/>
            </a:lvl4pPr>
            <a:lvl5pPr lvl="4" algn="l">
              <a:lnSpc>
                <a:spcPct val="100000"/>
              </a:lnSpc>
              <a:spcBef>
                <a:spcPts val="0"/>
              </a:spcBef>
              <a:spcAft>
                <a:spcPts val="0"/>
              </a:spcAft>
              <a:buSzPts val="2000"/>
              <a:buNone/>
              <a:defRPr/>
            </a:lvl5pPr>
            <a:lvl6pPr lvl="5" algn="l">
              <a:lnSpc>
                <a:spcPct val="100000"/>
              </a:lnSpc>
              <a:spcBef>
                <a:spcPts val="0"/>
              </a:spcBef>
              <a:spcAft>
                <a:spcPts val="0"/>
              </a:spcAft>
              <a:buSzPts val="2000"/>
              <a:buNone/>
              <a:defRPr/>
            </a:lvl6pPr>
            <a:lvl7pPr lvl="6" algn="l">
              <a:lnSpc>
                <a:spcPct val="100000"/>
              </a:lnSpc>
              <a:spcBef>
                <a:spcPts val="0"/>
              </a:spcBef>
              <a:spcAft>
                <a:spcPts val="0"/>
              </a:spcAft>
              <a:buSzPts val="2000"/>
              <a:buNone/>
              <a:defRPr/>
            </a:lvl7pPr>
            <a:lvl8pPr lvl="7" algn="l">
              <a:lnSpc>
                <a:spcPct val="100000"/>
              </a:lnSpc>
              <a:spcBef>
                <a:spcPts val="0"/>
              </a:spcBef>
              <a:spcAft>
                <a:spcPts val="0"/>
              </a:spcAft>
              <a:buSzPts val="2000"/>
              <a:buNone/>
              <a:defRPr/>
            </a:lvl8pPr>
            <a:lvl9pPr lvl="8" algn="l">
              <a:lnSpc>
                <a:spcPct val="100000"/>
              </a:lnSpc>
              <a:spcBef>
                <a:spcPts val="0"/>
              </a:spcBef>
              <a:spcAft>
                <a:spcPts val="0"/>
              </a:spcAft>
              <a:buSzPts val="2000"/>
              <a:buNone/>
              <a:defRPr/>
            </a:lvl9pPr>
          </a:lstStyle>
          <a:p>
            <a:endParaRPr/>
          </a:p>
        </p:txBody>
      </p:sp>
      <p:sp>
        <p:nvSpPr>
          <p:cNvPr id="21" name="Google Shape;21;p3"/>
          <p:cNvSpPr txBox="1">
            <a:spLocks noGrp="1"/>
          </p:cNvSpPr>
          <p:nvPr>
            <p:ph type="sldNum" idx="12"/>
          </p:nvPr>
        </p:nvSpPr>
        <p:spPr>
          <a:xfrm>
            <a:off x="415600" y="6496033"/>
            <a:ext cx="3151200" cy="3620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1pPr>
            <a:lvl2pPr marL="0" marR="0" lvl="1"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2pPr>
            <a:lvl3pPr marL="0" marR="0" lvl="2"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3pPr>
            <a:lvl4pPr marL="0" marR="0" lvl="3"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4pPr>
            <a:lvl5pPr marL="0" marR="0" lvl="4"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5pPr>
            <a:lvl6pPr marL="0" marR="0" lvl="5"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6pPr>
            <a:lvl7pPr marL="0" marR="0" lvl="6"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7pPr>
            <a:lvl8pPr marL="0" marR="0" lvl="7"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8pPr>
            <a:lvl9pPr marL="0" marR="0" lvl="8" indent="0" algn="r">
              <a:lnSpc>
                <a:spcPct val="100000"/>
              </a:lnSpc>
              <a:spcBef>
                <a:spcPts val="0"/>
              </a:spcBef>
              <a:spcAft>
                <a:spcPts val="0"/>
              </a:spcAft>
              <a:buClr>
                <a:srgbClr val="000000"/>
              </a:buClr>
              <a:buSzPts val="600"/>
              <a:buFont typeface="Arial"/>
              <a:buNone/>
              <a:defRPr sz="800" b="1" i="0" u="none" strike="noStrike" cap="none">
                <a:solidFill>
                  <a:srgbClr val="FFFFFF"/>
                </a:solidFill>
                <a:latin typeface="Montserrat"/>
                <a:ea typeface="Montserrat"/>
                <a:cs typeface="Montserrat"/>
                <a:sym typeface="Montserrat"/>
              </a:defRPr>
            </a:lvl9pPr>
          </a:lstStyle>
          <a:p>
            <a:fld id="{00000000-1234-1234-1234-123412341234}" type="slidenum">
              <a:rPr lang="en-US" smtClean="0"/>
              <a:pPr/>
              <a:t>‹#›</a:t>
            </a:fld>
            <a:r>
              <a:rPr lang="en-US" b="0"/>
              <a:t>  |  © 2020 Palo Alto Networks, Inc. All rights reserved.</a:t>
            </a:r>
            <a:endParaRPr lang="en-US"/>
          </a:p>
        </p:txBody>
      </p:sp>
    </p:spTree>
    <p:extLst>
      <p:ext uri="{BB962C8B-B14F-4D97-AF65-F5344CB8AC3E}">
        <p14:creationId xmlns:p14="http://schemas.microsoft.com/office/powerpoint/2010/main" val="31322442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6 Images_Text_Two Line Header">
  <p:cSld name="6 Images_Text_Two Line Header">
    <p:spTree>
      <p:nvGrpSpPr>
        <p:cNvPr id="1" name="Shape 430"/>
        <p:cNvGrpSpPr/>
        <p:nvPr/>
      </p:nvGrpSpPr>
      <p:grpSpPr>
        <a:xfrm>
          <a:off x="0" y="0"/>
          <a:ext cx="0" cy="0"/>
          <a:chOff x="0" y="0"/>
          <a:chExt cx="0" cy="0"/>
        </a:xfrm>
      </p:grpSpPr>
      <p:sp>
        <p:nvSpPr>
          <p:cNvPr id="431" name="Google Shape;431;p81"/>
          <p:cNvSpPr txBox="1">
            <a:spLocks noGrp="1"/>
          </p:cNvSpPr>
          <p:nvPr>
            <p:ph type="title"/>
          </p:nvPr>
        </p:nvSpPr>
        <p:spPr>
          <a:xfrm>
            <a:off x="330539" y="473449"/>
            <a:ext cx="6671600" cy="781200"/>
          </a:xfrm>
          <a:prstGeom prst="rect">
            <a:avLst/>
          </a:prstGeom>
          <a:noFill/>
          <a:ln>
            <a:noFill/>
          </a:ln>
        </p:spPr>
        <p:txBody>
          <a:bodyPr spcFirstLastPara="1" wrap="square" lIns="109725" tIns="54875" rIns="109725" bIns="54875" anchor="ctr" anchorCtr="0">
            <a:normAutofit/>
          </a:bodyPr>
          <a:lstStyle>
            <a:lvl1pPr lvl="0" algn="l" rtl="0">
              <a:lnSpc>
                <a:spcPct val="100000"/>
              </a:lnSpc>
              <a:spcBef>
                <a:spcPts val="0"/>
              </a:spcBef>
              <a:spcAft>
                <a:spcPts val="0"/>
              </a:spcAft>
              <a:buSzPts val="1200"/>
              <a:buFont typeface="Montserrat"/>
              <a:buNone/>
              <a:defRPr sz="2667" b="1" i="0">
                <a:latin typeface="Montserrat"/>
                <a:ea typeface="Montserrat"/>
                <a:cs typeface="Montserrat"/>
                <a:sym typeface="Montserrat"/>
              </a:defRPr>
            </a:lvl1pPr>
            <a:lvl2pPr lvl="1"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2pPr>
            <a:lvl3pPr lvl="2"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3pPr>
            <a:lvl4pPr lvl="3"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4pPr>
            <a:lvl5pPr lvl="4"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5pPr>
            <a:lvl6pPr lvl="5"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6pPr>
            <a:lvl7pPr lvl="6"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7pPr>
            <a:lvl8pPr lvl="7"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8pPr>
            <a:lvl9pPr lvl="8" algn="l" rtl="0">
              <a:lnSpc>
                <a:spcPct val="100000"/>
              </a:lnSpc>
              <a:spcBef>
                <a:spcPts val="0"/>
              </a:spcBef>
              <a:spcAft>
                <a:spcPts val="0"/>
              </a:spcAft>
              <a:buSzPts val="1200"/>
              <a:buFont typeface="Montserrat"/>
              <a:buNone/>
              <a:defRPr sz="3467" b="1">
                <a:latin typeface="Montserrat"/>
                <a:ea typeface="Montserrat"/>
                <a:cs typeface="Montserrat"/>
                <a:sym typeface="Montserrat"/>
              </a:defRPr>
            </a:lvl9pPr>
          </a:lstStyle>
          <a:p>
            <a:endParaRPr/>
          </a:p>
        </p:txBody>
      </p:sp>
      <p:sp>
        <p:nvSpPr>
          <p:cNvPr id="432" name="Google Shape;432;p81"/>
          <p:cNvSpPr txBox="1">
            <a:spLocks noGrp="1"/>
          </p:cNvSpPr>
          <p:nvPr>
            <p:ph type="subTitle" idx="1"/>
          </p:nvPr>
        </p:nvSpPr>
        <p:spPr>
          <a:xfrm>
            <a:off x="304364" y="1735567"/>
            <a:ext cx="7460000" cy="4315200"/>
          </a:xfrm>
          <a:prstGeom prst="rect">
            <a:avLst/>
          </a:prstGeom>
          <a:noFill/>
          <a:ln>
            <a:noFill/>
          </a:ln>
        </p:spPr>
        <p:txBody>
          <a:bodyPr spcFirstLastPara="1" wrap="square" lIns="91425" tIns="91425" rIns="91425" bIns="91425" anchor="t" anchorCtr="0">
            <a:normAutofit/>
          </a:bodyPr>
          <a:lstStyle>
            <a:lvl1pPr lvl="0" algn="l" rtl="0">
              <a:lnSpc>
                <a:spcPct val="115000"/>
              </a:lnSpc>
              <a:spcBef>
                <a:spcPts val="0"/>
              </a:spcBef>
              <a:spcAft>
                <a:spcPts val="0"/>
              </a:spcAft>
              <a:buSzPts val="1800"/>
              <a:buNone/>
              <a:defRPr sz="1467">
                <a:solidFill>
                  <a:srgbClr val="6D6D6D"/>
                </a:solidFill>
                <a:latin typeface="Montserrat"/>
                <a:ea typeface="Montserrat"/>
                <a:cs typeface="Montserrat"/>
                <a:sym typeface="Montserrat"/>
              </a:defRPr>
            </a:lvl1pPr>
            <a:lvl2pPr lvl="1" algn="l" rtl="0">
              <a:lnSpc>
                <a:spcPct val="115000"/>
              </a:lnSpc>
              <a:spcBef>
                <a:spcPts val="1600"/>
              </a:spcBef>
              <a:spcAft>
                <a:spcPts val="0"/>
              </a:spcAft>
              <a:buSzPts val="1400"/>
              <a:buNone/>
              <a:defRPr>
                <a:solidFill>
                  <a:srgbClr val="6D6D6D"/>
                </a:solidFill>
                <a:latin typeface="Montserrat"/>
                <a:ea typeface="Montserrat"/>
                <a:cs typeface="Montserrat"/>
                <a:sym typeface="Montserrat"/>
              </a:defRPr>
            </a:lvl2pPr>
            <a:lvl3pPr lvl="2" algn="l" rtl="0">
              <a:lnSpc>
                <a:spcPct val="115000"/>
              </a:lnSpc>
              <a:spcBef>
                <a:spcPts val="1600"/>
              </a:spcBef>
              <a:spcAft>
                <a:spcPts val="0"/>
              </a:spcAft>
              <a:buSzPts val="1400"/>
              <a:buNone/>
              <a:defRPr>
                <a:solidFill>
                  <a:srgbClr val="6D6D6D"/>
                </a:solidFill>
                <a:latin typeface="Montserrat"/>
                <a:ea typeface="Montserrat"/>
                <a:cs typeface="Montserrat"/>
                <a:sym typeface="Montserrat"/>
              </a:defRPr>
            </a:lvl3pPr>
            <a:lvl4pPr lvl="3" algn="l" rtl="0">
              <a:lnSpc>
                <a:spcPct val="115000"/>
              </a:lnSpc>
              <a:spcBef>
                <a:spcPts val="1600"/>
              </a:spcBef>
              <a:spcAft>
                <a:spcPts val="0"/>
              </a:spcAft>
              <a:buSzPts val="1400"/>
              <a:buNone/>
              <a:defRPr>
                <a:solidFill>
                  <a:srgbClr val="6D6D6D"/>
                </a:solidFill>
                <a:latin typeface="Montserrat"/>
                <a:ea typeface="Montserrat"/>
                <a:cs typeface="Montserrat"/>
                <a:sym typeface="Montserrat"/>
              </a:defRPr>
            </a:lvl4pPr>
            <a:lvl5pPr lvl="4" algn="l" rtl="0">
              <a:lnSpc>
                <a:spcPct val="115000"/>
              </a:lnSpc>
              <a:spcBef>
                <a:spcPts val="1600"/>
              </a:spcBef>
              <a:spcAft>
                <a:spcPts val="0"/>
              </a:spcAft>
              <a:buSzPts val="1400"/>
              <a:buNone/>
              <a:defRPr>
                <a:solidFill>
                  <a:srgbClr val="6D6D6D"/>
                </a:solidFill>
                <a:latin typeface="Montserrat"/>
                <a:ea typeface="Montserrat"/>
                <a:cs typeface="Montserrat"/>
                <a:sym typeface="Montserrat"/>
              </a:defRPr>
            </a:lvl5pPr>
            <a:lvl6pPr lvl="5" algn="l" rtl="0">
              <a:lnSpc>
                <a:spcPct val="115000"/>
              </a:lnSpc>
              <a:spcBef>
                <a:spcPts val="1600"/>
              </a:spcBef>
              <a:spcAft>
                <a:spcPts val="0"/>
              </a:spcAft>
              <a:buSzPts val="1400"/>
              <a:buNone/>
              <a:defRPr>
                <a:solidFill>
                  <a:srgbClr val="6D6D6D"/>
                </a:solidFill>
                <a:latin typeface="Montserrat"/>
                <a:ea typeface="Montserrat"/>
                <a:cs typeface="Montserrat"/>
                <a:sym typeface="Montserrat"/>
              </a:defRPr>
            </a:lvl6pPr>
            <a:lvl7pPr lvl="6" algn="l" rtl="0">
              <a:lnSpc>
                <a:spcPct val="115000"/>
              </a:lnSpc>
              <a:spcBef>
                <a:spcPts val="1600"/>
              </a:spcBef>
              <a:spcAft>
                <a:spcPts val="0"/>
              </a:spcAft>
              <a:buSzPts val="1400"/>
              <a:buNone/>
              <a:defRPr>
                <a:solidFill>
                  <a:srgbClr val="6D6D6D"/>
                </a:solidFill>
                <a:latin typeface="Montserrat"/>
                <a:ea typeface="Montserrat"/>
                <a:cs typeface="Montserrat"/>
                <a:sym typeface="Montserrat"/>
              </a:defRPr>
            </a:lvl7pPr>
            <a:lvl8pPr lvl="7" algn="l" rtl="0">
              <a:lnSpc>
                <a:spcPct val="115000"/>
              </a:lnSpc>
              <a:spcBef>
                <a:spcPts val="1600"/>
              </a:spcBef>
              <a:spcAft>
                <a:spcPts val="0"/>
              </a:spcAft>
              <a:buSzPts val="1400"/>
              <a:buNone/>
              <a:defRPr>
                <a:solidFill>
                  <a:srgbClr val="6D6D6D"/>
                </a:solidFill>
                <a:latin typeface="Montserrat"/>
                <a:ea typeface="Montserrat"/>
                <a:cs typeface="Montserrat"/>
                <a:sym typeface="Montserrat"/>
              </a:defRPr>
            </a:lvl8pPr>
            <a:lvl9pPr lvl="8" algn="l" rtl="0">
              <a:lnSpc>
                <a:spcPct val="115000"/>
              </a:lnSpc>
              <a:spcBef>
                <a:spcPts val="1600"/>
              </a:spcBef>
              <a:spcAft>
                <a:spcPts val="1600"/>
              </a:spcAft>
              <a:buSzPts val="1400"/>
              <a:buNone/>
              <a:defRPr>
                <a:solidFill>
                  <a:srgbClr val="6D6D6D"/>
                </a:solidFill>
                <a:latin typeface="Montserrat"/>
                <a:ea typeface="Montserrat"/>
                <a:cs typeface="Montserrat"/>
                <a:sym typeface="Montserrat"/>
              </a:defRPr>
            </a:lvl9pPr>
          </a:lstStyle>
          <a:p>
            <a:endParaRPr/>
          </a:p>
        </p:txBody>
      </p:sp>
      <p:cxnSp>
        <p:nvCxnSpPr>
          <p:cNvPr id="433" name="Google Shape;433;p81"/>
          <p:cNvCxnSpPr/>
          <p:nvPr/>
        </p:nvCxnSpPr>
        <p:spPr>
          <a:xfrm>
            <a:off x="484257" y="493543"/>
            <a:ext cx="497200" cy="0"/>
          </a:xfrm>
          <a:prstGeom prst="straightConnector1">
            <a:avLst/>
          </a:prstGeom>
          <a:noFill/>
          <a:ln w="38100" cap="flat" cmpd="sng">
            <a:solidFill>
              <a:srgbClr val="FA582D"/>
            </a:solidFill>
            <a:prstDash val="solid"/>
            <a:round/>
            <a:headEnd type="none" w="sm" len="sm"/>
            <a:tailEnd type="none" w="sm" len="sm"/>
          </a:ln>
        </p:spPr>
      </p:cxnSp>
      <p:sp>
        <p:nvSpPr>
          <p:cNvPr id="434" name="Google Shape;434;p81"/>
          <p:cNvSpPr txBox="1">
            <a:spLocks noGrp="1"/>
          </p:cNvSpPr>
          <p:nvPr>
            <p:ph type="sldNum" idx="12"/>
          </p:nvPr>
        </p:nvSpPr>
        <p:spPr>
          <a:xfrm>
            <a:off x="11913376" y="6586999"/>
            <a:ext cx="352000" cy="205200"/>
          </a:xfrm>
          <a:prstGeom prst="rect">
            <a:avLst/>
          </a:prstGeom>
          <a:noFill/>
          <a:ln>
            <a:noFill/>
          </a:ln>
        </p:spPr>
        <p:txBody>
          <a:bodyPr spcFirstLastPara="1" wrap="square" lIns="68575" tIns="34275" rIns="68575" bIns="34275" anchor="ctr" anchorCtr="0">
            <a:noAutofit/>
          </a:bodyPr>
          <a:lstStyle>
            <a:lvl1pPr marL="0" marR="0" lvl="0"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1pPr>
            <a:lvl2pPr marL="0" marR="0" lvl="1"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2pPr>
            <a:lvl3pPr marL="0" marR="0" lvl="2"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3pPr>
            <a:lvl4pPr marL="0" marR="0" lvl="3"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4pPr>
            <a:lvl5pPr marL="0" marR="0" lvl="4"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5pPr>
            <a:lvl6pPr marL="0" marR="0" lvl="5"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6pPr>
            <a:lvl7pPr marL="0" marR="0" lvl="6"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7pPr>
            <a:lvl8pPr marL="0" marR="0" lvl="7"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8pPr>
            <a:lvl9pPr marL="0" marR="0" lvl="8" indent="0" algn="ctr" rtl="0">
              <a:lnSpc>
                <a:spcPct val="100000"/>
              </a:lnSpc>
              <a:spcBef>
                <a:spcPts val="0"/>
              </a:spcBef>
              <a:spcAft>
                <a:spcPts val="0"/>
              </a:spcAft>
              <a:buClr>
                <a:srgbClr val="000000"/>
              </a:buClr>
              <a:buSzPts val="600"/>
              <a:buFont typeface="Arial"/>
              <a:buNone/>
              <a:defRPr sz="800" b="0" i="0" u="none" strike="noStrike" cap="none">
                <a:solidFill>
                  <a:schemeClr val="lt1"/>
                </a:solidFill>
                <a:latin typeface="Montserrat"/>
                <a:ea typeface="Montserrat"/>
                <a:cs typeface="Montserrat"/>
                <a:sym typeface="Montserra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55844018"/>
      </p:ext>
    </p:extLst>
  </p:cSld>
  <p:clrMapOvr>
    <a:masterClrMapping/>
  </p:clrMapOvr>
  <p:extLst>
    <p:ext uri="{DCECCB84-F9BA-43D5-87BE-67443E8EF086}">
      <p15:sldGuideLst xmlns:p15="http://schemas.microsoft.com/office/powerpoint/2012/main">
        <p15:guide id="1" orient="horz" pos="3239">
          <p15:clr>
            <a:srgbClr val="FA7B17"/>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F401C327-6256-453C-B045-711FF99563CC}"/>
              </a:ext>
            </a:extLst>
          </p:cNvPr>
          <p:cNvSpPr>
            <a:spLocks noGrp="1"/>
          </p:cNvSpPr>
          <p:nvPr>
            <p:ph type="body" sz="quarter" idx="10"/>
          </p:nvPr>
        </p:nvSpPr>
        <p:spPr>
          <a:xfrm>
            <a:off x="480001" y="1365252"/>
            <a:ext cx="11233633" cy="1227131"/>
          </a:xfrm>
        </p:spPr>
        <p:txBody>
          <a:bodyPr/>
          <a:lstStyle>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655034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741069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slide ">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6A111CE8-5105-42A2-8DF8-9E10E9150757}"/>
              </a:ext>
            </a:extLst>
          </p:cNvPr>
          <p:cNvSpPr>
            <a:spLocks noGrp="1"/>
          </p:cNvSpPr>
          <p:nvPr>
            <p:ph type="body" sz="quarter" idx="10" hasCustomPrompt="1"/>
          </p:nvPr>
        </p:nvSpPr>
        <p:spPr>
          <a:xfrm>
            <a:off x="478367" y="3048928"/>
            <a:ext cx="2724010" cy="738664"/>
          </a:xfrm>
        </p:spPr>
        <p:txBody>
          <a:bodyPr wrap="square" tIns="0" bIns="72000" anchor="ctr">
            <a:noAutofit/>
          </a:bodyPr>
          <a:lstStyle>
            <a:lvl1pPr>
              <a:defRPr sz="5332"/>
            </a:lvl1pPr>
          </a:lstStyle>
          <a:p>
            <a:pPr lvl="0"/>
            <a:r>
              <a:rPr lang="en-US"/>
              <a:t>Agenda</a:t>
            </a:r>
          </a:p>
        </p:txBody>
      </p:sp>
      <p:sp>
        <p:nvSpPr>
          <p:cNvPr id="33" name="Text Placeholder 32">
            <a:extLst>
              <a:ext uri="{FF2B5EF4-FFF2-40B4-BE49-F238E27FC236}">
                <a16:creationId xmlns:a16="http://schemas.microsoft.com/office/drawing/2014/main" id="{ACEE12E2-DC79-4DB8-8F61-A48797604DF3}"/>
              </a:ext>
            </a:extLst>
          </p:cNvPr>
          <p:cNvSpPr>
            <a:spLocks noGrp="1"/>
          </p:cNvSpPr>
          <p:nvPr>
            <p:ph type="body" sz="quarter" idx="11" hasCustomPrompt="1"/>
          </p:nvPr>
        </p:nvSpPr>
        <p:spPr>
          <a:xfrm>
            <a:off x="3419324" y="211629"/>
            <a:ext cx="800100" cy="287259"/>
          </a:xfrm>
        </p:spPr>
        <p:txBody>
          <a:bodyPr anchor="ctr"/>
          <a:lstStyle>
            <a:lvl1pPr>
              <a:defRPr sz="1866">
                <a:solidFill>
                  <a:srgbClr val="43FFC0"/>
                </a:solidFill>
              </a:defRPr>
            </a:lvl1pPr>
          </a:lstStyle>
          <a:p>
            <a:pPr lvl="0"/>
            <a:r>
              <a:rPr lang="en-US"/>
              <a:t>Time</a:t>
            </a:r>
          </a:p>
        </p:txBody>
      </p:sp>
      <p:sp>
        <p:nvSpPr>
          <p:cNvPr id="34" name="Text Placeholder 32">
            <a:extLst>
              <a:ext uri="{FF2B5EF4-FFF2-40B4-BE49-F238E27FC236}">
                <a16:creationId xmlns:a16="http://schemas.microsoft.com/office/drawing/2014/main" id="{1B0220FB-2BEC-4FFF-B14A-D721C7D2D316}"/>
              </a:ext>
            </a:extLst>
          </p:cNvPr>
          <p:cNvSpPr>
            <a:spLocks noGrp="1"/>
          </p:cNvSpPr>
          <p:nvPr>
            <p:ph type="body" sz="quarter" idx="12" hasCustomPrompt="1"/>
          </p:nvPr>
        </p:nvSpPr>
        <p:spPr>
          <a:xfrm>
            <a:off x="3419324" y="766618"/>
            <a:ext cx="800100" cy="287259"/>
          </a:xfrm>
        </p:spPr>
        <p:txBody>
          <a:bodyPr anchor="ctr"/>
          <a:lstStyle>
            <a:lvl1pPr>
              <a:defRPr sz="1866">
                <a:solidFill>
                  <a:srgbClr val="43FFC0"/>
                </a:solidFill>
              </a:defRPr>
            </a:lvl1pPr>
          </a:lstStyle>
          <a:p>
            <a:pPr lvl="0"/>
            <a:r>
              <a:rPr lang="en-US"/>
              <a:t>Time</a:t>
            </a:r>
          </a:p>
        </p:txBody>
      </p:sp>
      <p:sp>
        <p:nvSpPr>
          <p:cNvPr id="35" name="Text Placeholder 32">
            <a:extLst>
              <a:ext uri="{FF2B5EF4-FFF2-40B4-BE49-F238E27FC236}">
                <a16:creationId xmlns:a16="http://schemas.microsoft.com/office/drawing/2014/main" id="{3A131D73-7C36-4DDC-A6D8-5EAC2443E9E7}"/>
              </a:ext>
            </a:extLst>
          </p:cNvPr>
          <p:cNvSpPr>
            <a:spLocks noGrp="1"/>
          </p:cNvSpPr>
          <p:nvPr>
            <p:ph type="body" sz="quarter" idx="13" hasCustomPrompt="1"/>
          </p:nvPr>
        </p:nvSpPr>
        <p:spPr>
          <a:xfrm>
            <a:off x="3419324" y="1327446"/>
            <a:ext cx="800100" cy="287259"/>
          </a:xfrm>
        </p:spPr>
        <p:txBody>
          <a:bodyPr anchor="ctr"/>
          <a:lstStyle>
            <a:lvl1pPr>
              <a:defRPr sz="1866">
                <a:solidFill>
                  <a:srgbClr val="43FFC0"/>
                </a:solidFill>
              </a:defRPr>
            </a:lvl1pPr>
          </a:lstStyle>
          <a:p>
            <a:pPr lvl="0"/>
            <a:r>
              <a:rPr lang="en-US"/>
              <a:t>Time</a:t>
            </a:r>
          </a:p>
        </p:txBody>
      </p:sp>
      <p:sp>
        <p:nvSpPr>
          <p:cNvPr id="36" name="Text Placeholder 32">
            <a:extLst>
              <a:ext uri="{FF2B5EF4-FFF2-40B4-BE49-F238E27FC236}">
                <a16:creationId xmlns:a16="http://schemas.microsoft.com/office/drawing/2014/main" id="{0CBFCC4D-17A1-4AFA-BEB6-A0DE0D2FF595}"/>
              </a:ext>
            </a:extLst>
          </p:cNvPr>
          <p:cNvSpPr>
            <a:spLocks noGrp="1"/>
          </p:cNvSpPr>
          <p:nvPr>
            <p:ph type="body" sz="quarter" idx="14" hasCustomPrompt="1"/>
          </p:nvPr>
        </p:nvSpPr>
        <p:spPr>
          <a:xfrm>
            <a:off x="3419324" y="1884882"/>
            <a:ext cx="800100" cy="287259"/>
          </a:xfrm>
        </p:spPr>
        <p:txBody>
          <a:bodyPr anchor="ctr"/>
          <a:lstStyle>
            <a:lvl1pPr>
              <a:defRPr sz="1866">
                <a:solidFill>
                  <a:srgbClr val="43FFC0"/>
                </a:solidFill>
              </a:defRPr>
            </a:lvl1pPr>
          </a:lstStyle>
          <a:p>
            <a:pPr lvl="0"/>
            <a:r>
              <a:rPr lang="en-US"/>
              <a:t>Time</a:t>
            </a:r>
          </a:p>
        </p:txBody>
      </p:sp>
      <p:sp>
        <p:nvSpPr>
          <p:cNvPr id="37" name="Text Placeholder 32">
            <a:extLst>
              <a:ext uri="{FF2B5EF4-FFF2-40B4-BE49-F238E27FC236}">
                <a16:creationId xmlns:a16="http://schemas.microsoft.com/office/drawing/2014/main" id="{EDFC5E25-A88C-4AA9-9552-A93F5FD62BEC}"/>
              </a:ext>
            </a:extLst>
          </p:cNvPr>
          <p:cNvSpPr>
            <a:spLocks noGrp="1"/>
          </p:cNvSpPr>
          <p:nvPr>
            <p:ph type="body" sz="quarter" idx="15" hasCustomPrompt="1"/>
          </p:nvPr>
        </p:nvSpPr>
        <p:spPr>
          <a:xfrm>
            <a:off x="3419324" y="2435041"/>
            <a:ext cx="800100" cy="287259"/>
          </a:xfrm>
        </p:spPr>
        <p:txBody>
          <a:bodyPr anchor="ctr"/>
          <a:lstStyle>
            <a:lvl1pPr>
              <a:defRPr sz="1866">
                <a:solidFill>
                  <a:srgbClr val="43FFC0"/>
                </a:solidFill>
              </a:defRPr>
            </a:lvl1pPr>
          </a:lstStyle>
          <a:p>
            <a:pPr lvl="0"/>
            <a:r>
              <a:rPr lang="en-US"/>
              <a:t>Time</a:t>
            </a:r>
          </a:p>
        </p:txBody>
      </p:sp>
      <p:sp>
        <p:nvSpPr>
          <p:cNvPr id="38" name="Text Placeholder 32">
            <a:extLst>
              <a:ext uri="{FF2B5EF4-FFF2-40B4-BE49-F238E27FC236}">
                <a16:creationId xmlns:a16="http://schemas.microsoft.com/office/drawing/2014/main" id="{18D336BD-BCE9-4B92-BF82-56EC09C39E22}"/>
              </a:ext>
            </a:extLst>
          </p:cNvPr>
          <p:cNvSpPr>
            <a:spLocks noGrp="1"/>
          </p:cNvSpPr>
          <p:nvPr>
            <p:ph type="body" sz="quarter" idx="16" hasCustomPrompt="1"/>
          </p:nvPr>
        </p:nvSpPr>
        <p:spPr>
          <a:xfrm>
            <a:off x="3419324" y="2985690"/>
            <a:ext cx="800100" cy="287259"/>
          </a:xfrm>
        </p:spPr>
        <p:txBody>
          <a:bodyPr anchor="ctr"/>
          <a:lstStyle>
            <a:lvl1pPr>
              <a:defRPr sz="1866">
                <a:solidFill>
                  <a:srgbClr val="43FFC0"/>
                </a:solidFill>
              </a:defRPr>
            </a:lvl1pPr>
          </a:lstStyle>
          <a:p>
            <a:pPr lvl="0"/>
            <a:r>
              <a:rPr lang="en-US"/>
              <a:t>Time</a:t>
            </a:r>
          </a:p>
        </p:txBody>
      </p:sp>
      <p:sp>
        <p:nvSpPr>
          <p:cNvPr id="39" name="Text Placeholder 32">
            <a:extLst>
              <a:ext uri="{FF2B5EF4-FFF2-40B4-BE49-F238E27FC236}">
                <a16:creationId xmlns:a16="http://schemas.microsoft.com/office/drawing/2014/main" id="{AF1D6194-70A6-40CE-977E-0CF754564911}"/>
              </a:ext>
            </a:extLst>
          </p:cNvPr>
          <p:cNvSpPr>
            <a:spLocks noGrp="1"/>
          </p:cNvSpPr>
          <p:nvPr>
            <p:ph type="body" sz="quarter" idx="17" hasCustomPrompt="1"/>
          </p:nvPr>
        </p:nvSpPr>
        <p:spPr>
          <a:xfrm>
            <a:off x="3419324" y="3538050"/>
            <a:ext cx="800100" cy="287259"/>
          </a:xfrm>
        </p:spPr>
        <p:txBody>
          <a:bodyPr anchor="ctr"/>
          <a:lstStyle>
            <a:lvl1pPr>
              <a:defRPr sz="1866">
                <a:solidFill>
                  <a:schemeClr val="bg1"/>
                </a:solidFill>
              </a:defRPr>
            </a:lvl1pPr>
          </a:lstStyle>
          <a:p>
            <a:pPr lvl="0"/>
            <a:r>
              <a:rPr lang="en-US"/>
              <a:t>Time</a:t>
            </a:r>
          </a:p>
        </p:txBody>
      </p:sp>
      <p:sp>
        <p:nvSpPr>
          <p:cNvPr id="40" name="Text Placeholder 32">
            <a:extLst>
              <a:ext uri="{FF2B5EF4-FFF2-40B4-BE49-F238E27FC236}">
                <a16:creationId xmlns:a16="http://schemas.microsoft.com/office/drawing/2014/main" id="{2FB42E81-80F4-4306-9A58-816A1746E3DB}"/>
              </a:ext>
            </a:extLst>
          </p:cNvPr>
          <p:cNvSpPr>
            <a:spLocks noGrp="1"/>
          </p:cNvSpPr>
          <p:nvPr>
            <p:ph type="body" sz="quarter" idx="18" hasCustomPrompt="1"/>
          </p:nvPr>
        </p:nvSpPr>
        <p:spPr>
          <a:xfrm>
            <a:off x="3419324" y="4094677"/>
            <a:ext cx="800100" cy="287259"/>
          </a:xfrm>
        </p:spPr>
        <p:txBody>
          <a:bodyPr anchor="ctr"/>
          <a:lstStyle>
            <a:lvl1pPr>
              <a:defRPr sz="1866">
                <a:solidFill>
                  <a:srgbClr val="43FFC0"/>
                </a:solidFill>
              </a:defRPr>
            </a:lvl1pPr>
          </a:lstStyle>
          <a:p>
            <a:pPr lvl="0"/>
            <a:r>
              <a:rPr lang="en-US"/>
              <a:t>Time</a:t>
            </a:r>
          </a:p>
        </p:txBody>
      </p:sp>
      <p:sp>
        <p:nvSpPr>
          <p:cNvPr id="41" name="Text Placeholder 32">
            <a:extLst>
              <a:ext uri="{FF2B5EF4-FFF2-40B4-BE49-F238E27FC236}">
                <a16:creationId xmlns:a16="http://schemas.microsoft.com/office/drawing/2014/main" id="{3B8370BD-F774-4BAC-9596-953D61E64D21}"/>
              </a:ext>
            </a:extLst>
          </p:cNvPr>
          <p:cNvSpPr>
            <a:spLocks noGrp="1"/>
          </p:cNvSpPr>
          <p:nvPr>
            <p:ph type="body" sz="quarter" idx="19" hasCustomPrompt="1"/>
          </p:nvPr>
        </p:nvSpPr>
        <p:spPr>
          <a:xfrm>
            <a:off x="3419324" y="4651310"/>
            <a:ext cx="800100" cy="287259"/>
          </a:xfrm>
        </p:spPr>
        <p:txBody>
          <a:bodyPr anchor="ctr"/>
          <a:lstStyle>
            <a:lvl1pPr>
              <a:defRPr sz="1866">
                <a:solidFill>
                  <a:srgbClr val="43FFC0"/>
                </a:solidFill>
              </a:defRPr>
            </a:lvl1pPr>
          </a:lstStyle>
          <a:p>
            <a:pPr lvl="0"/>
            <a:r>
              <a:rPr lang="en-US"/>
              <a:t>Time</a:t>
            </a:r>
          </a:p>
        </p:txBody>
      </p:sp>
      <p:sp>
        <p:nvSpPr>
          <p:cNvPr id="42" name="Text Placeholder 32">
            <a:extLst>
              <a:ext uri="{FF2B5EF4-FFF2-40B4-BE49-F238E27FC236}">
                <a16:creationId xmlns:a16="http://schemas.microsoft.com/office/drawing/2014/main" id="{9B13FADB-F483-4604-9566-8C00210C8213}"/>
              </a:ext>
            </a:extLst>
          </p:cNvPr>
          <p:cNvSpPr>
            <a:spLocks noGrp="1"/>
          </p:cNvSpPr>
          <p:nvPr>
            <p:ph type="body" sz="quarter" idx="20" hasCustomPrompt="1"/>
          </p:nvPr>
        </p:nvSpPr>
        <p:spPr>
          <a:xfrm>
            <a:off x="3419324" y="5207497"/>
            <a:ext cx="800100" cy="287259"/>
          </a:xfrm>
        </p:spPr>
        <p:txBody>
          <a:bodyPr anchor="ctr"/>
          <a:lstStyle>
            <a:lvl1pPr>
              <a:defRPr sz="1866">
                <a:solidFill>
                  <a:srgbClr val="43FFC0"/>
                </a:solidFill>
              </a:defRPr>
            </a:lvl1pPr>
          </a:lstStyle>
          <a:p>
            <a:pPr lvl="0"/>
            <a:r>
              <a:rPr lang="en-US"/>
              <a:t>Time</a:t>
            </a:r>
          </a:p>
        </p:txBody>
      </p:sp>
      <p:sp>
        <p:nvSpPr>
          <p:cNvPr id="43" name="Text Placeholder 32">
            <a:extLst>
              <a:ext uri="{FF2B5EF4-FFF2-40B4-BE49-F238E27FC236}">
                <a16:creationId xmlns:a16="http://schemas.microsoft.com/office/drawing/2014/main" id="{8F4282EE-83F0-4E55-8872-4F79A29AB1F4}"/>
              </a:ext>
            </a:extLst>
          </p:cNvPr>
          <p:cNvSpPr>
            <a:spLocks noGrp="1"/>
          </p:cNvSpPr>
          <p:nvPr>
            <p:ph type="body" sz="quarter" idx="21" hasCustomPrompt="1"/>
          </p:nvPr>
        </p:nvSpPr>
        <p:spPr>
          <a:xfrm>
            <a:off x="3419324" y="5768325"/>
            <a:ext cx="800100" cy="287259"/>
          </a:xfrm>
        </p:spPr>
        <p:txBody>
          <a:bodyPr anchor="ctr"/>
          <a:lstStyle>
            <a:lvl1pPr>
              <a:defRPr sz="1866">
                <a:solidFill>
                  <a:srgbClr val="43FFC0"/>
                </a:solidFill>
              </a:defRPr>
            </a:lvl1pPr>
          </a:lstStyle>
          <a:p>
            <a:pPr lvl="0"/>
            <a:r>
              <a:rPr lang="en-US"/>
              <a:t>Time</a:t>
            </a:r>
          </a:p>
        </p:txBody>
      </p:sp>
      <p:sp>
        <p:nvSpPr>
          <p:cNvPr id="44" name="Text Placeholder 32">
            <a:extLst>
              <a:ext uri="{FF2B5EF4-FFF2-40B4-BE49-F238E27FC236}">
                <a16:creationId xmlns:a16="http://schemas.microsoft.com/office/drawing/2014/main" id="{A0EC6607-79A8-4371-9E8F-0E526366B2B7}"/>
              </a:ext>
            </a:extLst>
          </p:cNvPr>
          <p:cNvSpPr>
            <a:spLocks noGrp="1"/>
          </p:cNvSpPr>
          <p:nvPr>
            <p:ph type="body" sz="quarter" idx="22" hasCustomPrompt="1"/>
          </p:nvPr>
        </p:nvSpPr>
        <p:spPr>
          <a:xfrm>
            <a:off x="3419324" y="6329153"/>
            <a:ext cx="800100" cy="287259"/>
          </a:xfrm>
        </p:spPr>
        <p:txBody>
          <a:bodyPr anchor="ctr"/>
          <a:lstStyle>
            <a:lvl1pPr>
              <a:defRPr sz="1866">
                <a:solidFill>
                  <a:schemeClr val="bg1"/>
                </a:solidFill>
              </a:defRPr>
            </a:lvl1pPr>
          </a:lstStyle>
          <a:p>
            <a:pPr lvl="0"/>
            <a:r>
              <a:rPr lang="en-US"/>
              <a:t>Time</a:t>
            </a:r>
          </a:p>
        </p:txBody>
      </p:sp>
      <p:sp>
        <p:nvSpPr>
          <p:cNvPr id="45" name="Text Placeholder 32">
            <a:extLst>
              <a:ext uri="{FF2B5EF4-FFF2-40B4-BE49-F238E27FC236}">
                <a16:creationId xmlns:a16="http://schemas.microsoft.com/office/drawing/2014/main" id="{1A95914A-14E3-4346-8A69-611FCF70AF94}"/>
              </a:ext>
            </a:extLst>
          </p:cNvPr>
          <p:cNvSpPr>
            <a:spLocks noGrp="1"/>
          </p:cNvSpPr>
          <p:nvPr>
            <p:ph type="body" sz="quarter" idx="23" hasCustomPrompt="1"/>
          </p:nvPr>
        </p:nvSpPr>
        <p:spPr>
          <a:xfrm>
            <a:off x="4874950" y="205232"/>
            <a:ext cx="4705931" cy="297471"/>
          </a:xfrm>
        </p:spPr>
        <p:txBody>
          <a:bodyPr anchor="ctr">
            <a:noAutofit/>
          </a:bodyPr>
          <a:lstStyle>
            <a:lvl1pPr>
              <a:defRPr sz="1600">
                <a:solidFill>
                  <a:schemeClr val="bg1"/>
                </a:solidFill>
              </a:defRPr>
            </a:lvl1pPr>
          </a:lstStyle>
          <a:p>
            <a:pPr lvl="0"/>
            <a:r>
              <a:rPr lang="en-US"/>
              <a:t>Time</a:t>
            </a:r>
          </a:p>
        </p:txBody>
      </p:sp>
      <p:sp>
        <p:nvSpPr>
          <p:cNvPr id="46" name="Text Placeholder 32">
            <a:extLst>
              <a:ext uri="{FF2B5EF4-FFF2-40B4-BE49-F238E27FC236}">
                <a16:creationId xmlns:a16="http://schemas.microsoft.com/office/drawing/2014/main" id="{271CCE4F-DE19-4818-8A0F-D081E683FAA9}"/>
              </a:ext>
            </a:extLst>
          </p:cNvPr>
          <p:cNvSpPr>
            <a:spLocks noGrp="1"/>
          </p:cNvSpPr>
          <p:nvPr>
            <p:ph type="body" sz="quarter" idx="24" hasCustomPrompt="1"/>
          </p:nvPr>
        </p:nvSpPr>
        <p:spPr>
          <a:xfrm>
            <a:off x="4874950" y="766618"/>
            <a:ext cx="4705931" cy="293523"/>
          </a:xfrm>
        </p:spPr>
        <p:txBody>
          <a:bodyPr anchor="ctr">
            <a:noAutofit/>
          </a:bodyPr>
          <a:lstStyle>
            <a:lvl1pPr>
              <a:defRPr sz="1600">
                <a:solidFill>
                  <a:schemeClr val="bg1"/>
                </a:solidFill>
              </a:defRPr>
            </a:lvl1pPr>
          </a:lstStyle>
          <a:p>
            <a:pPr lvl="0"/>
            <a:r>
              <a:rPr lang="en-US"/>
              <a:t>Time</a:t>
            </a:r>
          </a:p>
        </p:txBody>
      </p:sp>
      <p:sp>
        <p:nvSpPr>
          <p:cNvPr id="47" name="Text Placeholder 32">
            <a:extLst>
              <a:ext uri="{FF2B5EF4-FFF2-40B4-BE49-F238E27FC236}">
                <a16:creationId xmlns:a16="http://schemas.microsoft.com/office/drawing/2014/main" id="{4B1F9B2B-DD0D-4AC4-BEBA-B9014DDCE108}"/>
              </a:ext>
            </a:extLst>
          </p:cNvPr>
          <p:cNvSpPr>
            <a:spLocks noGrp="1"/>
          </p:cNvSpPr>
          <p:nvPr>
            <p:ph type="body" sz="quarter" idx="25" hasCustomPrompt="1"/>
          </p:nvPr>
        </p:nvSpPr>
        <p:spPr>
          <a:xfrm>
            <a:off x="4874950" y="1327446"/>
            <a:ext cx="4705931" cy="293523"/>
          </a:xfrm>
        </p:spPr>
        <p:txBody>
          <a:bodyPr anchor="ctr">
            <a:noAutofit/>
          </a:bodyPr>
          <a:lstStyle>
            <a:lvl1pPr>
              <a:defRPr sz="1600">
                <a:solidFill>
                  <a:schemeClr val="bg1"/>
                </a:solidFill>
              </a:defRPr>
            </a:lvl1pPr>
          </a:lstStyle>
          <a:p>
            <a:pPr lvl="0"/>
            <a:r>
              <a:rPr lang="en-US"/>
              <a:t>Time</a:t>
            </a:r>
          </a:p>
        </p:txBody>
      </p:sp>
      <p:sp>
        <p:nvSpPr>
          <p:cNvPr id="48" name="Text Placeholder 32">
            <a:extLst>
              <a:ext uri="{FF2B5EF4-FFF2-40B4-BE49-F238E27FC236}">
                <a16:creationId xmlns:a16="http://schemas.microsoft.com/office/drawing/2014/main" id="{6DB60D81-6C41-4C6A-BC78-8544A740EAC3}"/>
              </a:ext>
            </a:extLst>
          </p:cNvPr>
          <p:cNvSpPr>
            <a:spLocks noGrp="1"/>
          </p:cNvSpPr>
          <p:nvPr>
            <p:ph type="body" sz="quarter" idx="26" hasCustomPrompt="1"/>
          </p:nvPr>
        </p:nvSpPr>
        <p:spPr>
          <a:xfrm>
            <a:off x="4874950" y="1884882"/>
            <a:ext cx="4705931" cy="287259"/>
          </a:xfrm>
        </p:spPr>
        <p:txBody>
          <a:bodyPr anchor="ctr">
            <a:noAutofit/>
          </a:bodyPr>
          <a:lstStyle>
            <a:lvl1pPr>
              <a:defRPr sz="1600">
                <a:solidFill>
                  <a:schemeClr val="bg1"/>
                </a:solidFill>
              </a:defRPr>
            </a:lvl1pPr>
          </a:lstStyle>
          <a:p>
            <a:pPr lvl="0"/>
            <a:r>
              <a:rPr lang="en-US"/>
              <a:t>Time</a:t>
            </a:r>
          </a:p>
        </p:txBody>
      </p:sp>
      <p:sp>
        <p:nvSpPr>
          <p:cNvPr id="53" name="Text Placeholder 32">
            <a:extLst>
              <a:ext uri="{FF2B5EF4-FFF2-40B4-BE49-F238E27FC236}">
                <a16:creationId xmlns:a16="http://schemas.microsoft.com/office/drawing/2014/main" id="{02AD0019-124C-4DF8-8ECD-F9FD3CBE7D3F}"/>
              </a:ext>
            </a:extLst>
          </p:cNvPr>
          <p:cNvSpPr>
            <a:spLocks noGrp="1"/>
          </p:cNvSpPr>
          <p:nvPr>
            <p:ph type="body" sz="quarter" idx="27" hasCustomPrompt="1"/>
          </p:nvPr>
        </p:nvSpPr>
        <p:spPr>
          <a:xfrm>
            <a:off x="4874950" y="2435042"/>
            <a:ext cx="4705931" cy="297471"/>
          </a:xfrm>
        </p:spPr>
        <p:txBody>
          <a:bodyPr anchor="ctr">
            <a:noAutofit/>
          </a:bodyPr>
          <a:lstStyle>
            <a:lvl1pPr>
              <a:defRPr sz="1600">
                <a:solidFill>
                  <a:schemeClr val="bg1"/>
                </a:solidFill>
              </a:defRPr>
            </a:lvl1pPr>
          </a:lstStyle>
          <a:p>
            <a:pPr lvl="0"/>
            <a:r>
              <a:rPr lang="en-US"/>
              <a:t>Time</a:t>
            </a:r>
          </a:p>
        </p:txBody>
      </p:sp>
      <p:sp>
        <p:nvSpPr>
          <p:cNvPr id="54" name="Text Placeholder 32">
            <a:extLst>
              <a:ext uri="{FF2B5EF4-FFF2-40B4-BE49-F238E27FC236}">
                <a16:creationId xmlns:a16="http://schemas.microsoft.com/office/drawing/2014/main" id="{D672A5B7-973A-4D82-9A6A-C55FA8723355}"/>
              </a:ext>
            </a:extLst>
          </p:cNvPr>
          <p:cNvSpPr>
            <a:spLocks noGrp="1"/>
          </p:cNvSpPr>
          <p:nvPr>
            <p:ph type="body" sz="quarter" idx="28" hasCustomPrompt="1"/>
          </p:nvPr>
        </p:nvSpPr>
        <p:spPr>
          <a:xfrm>
            <a:off x="4874950" y="2996426"/>
            <a:ext cx="4705931" cy="293523"/>
          </a:xfrm>
        </p:spPr>
        <p:txBody>
          <a:bodyPr anchor="ctr">
            <a:noAutofit/>
          </a:bodyPr>
          <a:lstStyle>
            <a:lvl1pPr>
              <a:defRPr sz="1600">
                <a:solidFill>
                  <a:schemeClr val="bg1"/>
                </a:solidFill>
              </a:defRPr>
            </a:lvl1pPr>
          </a:lstStyle>
          <a:p>
            <a:pPr lvl="0"/>
            <a:r>
              <a:rPr lang="en-US"/>
              <a:t>Time</a:t>
            </a:r>
          </a:p>
        </p:txBody>
      </p:sp>
      <p:sp>
        <p:nvSpPr>
          <p:cNvPr id="55" name="Text Placeholder 32">
            <a:extLst>
              <a:ext uri="{FF2B5EF4-FFF2-40B4-BE49-F238E27FC236}">
                <a16:creationId xmlns:a16="http://schemas.microsoft.com/office/drawing/2014/main" id="{9A9E9E75-F671-4378-828A-57A41032DA14}"/>
              </a:ext>
            </a:extLst>
          </p:cNvPr>
          <p:cNvSpPr>
            <a:spLocks noGrp="1"/>
          </p:cNvSpPr>
          <p:nvPr>
            <p:ph type="body" sz="quarter" idx="29" hasCustomPrompt="1"/>
          </p:nvPr>
        </p:nvSpPr>
        <p:spPr>
          <a:xfrm>
            <a:off x="4874950" y="3557253"/>
            <a:ext cx="4705931" cy="293523"/>
          </a:xfrm>
        </p:spPr>
        <p:txBody>
          <a:bodyPr anchor="ctr">
            <a:noAutofit/>
          </a:bodyPr>
          <a:lstStyle>
            <a:lvl1pPr>
              <a:defRPr sz="1600">
                <a:solidFill>
                  <a:schemeClr val="bg1"/>
                </a:solidFill>
              </a:defRPr>
            </a:lvl1pPr>
          </a:lstStyle>
          <a:p>
            <a:pPr lvl="0"/>
            <a:r>
              <a:rPr lang="en-US"/>
              <a:t>Time</a:t>
            </a:r>
          </a:p>
        </p:txBody>
      </p:sp>
      <p:sp>
        <p:nvSpPr>
          <p:cNvPr id="56" name="Text Placeholder 32">
            <a:extLst>
              <a:ext uri="{FF2B5EF4-FFF2-40B4-BE49-F238E27FC236}">
                <a16:creationId xmlns:a16="http://schemas.microsoft.com/office/drawing/2014/main" id="{F173A791-870F-4DD2-9E55-502DBC415510}"/>
              </a:ext>
            </a:extLst>
          </p:cNvPr>
          <p:cNvSpPr>
            <a:spLocks noGrp="1"/>
          </p:cNvSpPr>
          <p:nvPr>
            <p:ph type="body" sz="quarter" idx="30" hasCustomPrompt="1"/>
          </p:nvPr>
        </p:nvSpPr>
        <p:spPr>
          <a:xfrm>
            <a:off x="4874950" y="4114693"/>
            <a:ext cx="4705931" cy="287259"/>
          </a:xfrm>
        </p:spPr>
        <p:txBody>
          <a:bodyPr anchor="ctr">
            <a:noAutofit/>
          </a:bodyPr>
          <a:lstStyle>
            <a:lvl1pPr>
              <a:defRPr sz="1600">
                <a:solidFill>
                  <a:schemeClr val="bg1"/>
                </a:solidFill>
              </a:defRPr>
            </a:lvl1pPr>
          </a:lstStyle>
          <a:p>
            <a:pPr lvl="0"/>
            <a:r>
              <a:rPr lang="en-US"/>
              <a:t>Time</a:t>
            </a:r>
          </a:p>
        </p:txBody>
      </p:sp>
      <p:sp>
        <p:nvSpPr>
          <p:cNvPr id="57" name="Text Placeholder 32">
            <a:extLst>
              <a:ext uri="{FF2B5EF4-FFF2-40B4-BE49-F238E27FC236}">
                <a16:creationId xmlns:a16="http://schemas.microsoft.com/office/drawing/2014/main" id="{D53C7753-A663-4631-8913-11DA77C2CB11}"/>
              </a:ext>
            </a:extLst>
          </p:cNvPr>
          <p:cNvSpPr>
            <a:spLocks noGrp="1"/>
          </p:cNvSpPr>
          <p:nvPr>
            <p:ph type="body" sz="quarter" idx="31" hasCustomPrompt="1"/>
          </p:nvPr>
        </p:nvSpPr>
        <p:spPr>
          <a:xfrm>
            <a:off x="4874950" y="4649502"/>
            <a:ext cx="4705931" cy="297471"/>
          </a:xfrm>
        </p:spPr>
        <p:txBody>
          <a:bodyPr anchor="ctr">
            <a:noAutofit/>
          </a:bodyPr>
          <a:lstStyle>
            <a:lvl1pPr>
              <a:defRPr sz="1600">
                <a:solidFill>
                  <a:schemeClr val="bg1"/>
                </a:solidFill>
              </a:defRPr>
            </a:lvl1pPr>
          </a:lstStyle>
          <a:p>
            <a:pPr lvl="0"/>
            <a:r>
              <a:rPr lang="en-US"/>
              <a:t>Time</a:t>
            </a:r>
          </a:p>
        </p:txBody>
      </p:sp>
      <p:sp>
        <p:nvSpPr>
          <p:cNvPr id="58" name="Text Placeholder 32">
            <a:extLst>
              <a:ext uri="{FF2B5EF4-FFF2-40B4-BE49-F238E27FC236}">
                <a16:creationId xmlns:a16="http://schemas.microsoft.com/office/drawing/2014/main" id="{B3E46D1C-B7AD-49A3-B354-EE9A0BDAA105}"/>
              </a:ext>
            </a:extLst>
          </p:cNvPr>
          <p:cNvSpPr>
            <a:spLocks noGrp="1"/>
          </p:cNvSpPr>
          <p:nvPr>
            <p:ph type="body" sz="quarter" idx="32" hasCustomPrompt="1"/>
          </p:nvPr>
        </p:nvSpPr>
        <p:spPr>
          <a:xfrm>
            <a:off x="4874950" y="5210886"/>
            <a:ext cx="4705931" cy="293523"/>
          </a:xfrm>
        </p:spPr>
        <p:txBody>
          <a:bodyPr anchor="ctr">
            <a:noAutofit/>
          </a:bodyPr>
          <a:lstStyle>
            <a:lvl1pPr>
              <a:defRPr sz="1600">
                <a:solidFill>
                  <a:schemeClr val="bg1"/>
                </a:solidFill>
              </a:defRPr>
            </a:lvl1pPr>
          </a:lstStyle>
          <a:p>
            <a:pPr lvl="0"/>
            <a:r>
              <a:rPr lang="en-US"/>
              <a:t>Time</a:t>
            </a:r>
          </a:p>
        </p:txBody>
      </p:sp>
      <p:sp>
        <p:nvSpPr>
          <p:cNvPr id="59" name="Text Placeholder 32">
            <a:extLst>
              <a:ext uri="{FF2B5EF4-FFF2-40B4-BE49-F238E27FC236}">
                <a16:creationId xmlns:a16="http://schemas.microsoft.com/office/drawing/2014/main" id="{1ECA8CEA-823C-443E-8BD4-CF52519DCA44}"/>
              </a:ext>
            </a:extLst>
          </p:cNvPr>
          <p:cNvSpPr>
            <a:spLocks noGrp="1"/>
          </p:cNvSpPr>
          <p:nvPr>
            <p:ph type="body" sz="quarter" idx="33" hasCustomPrompt="1"/>
          </p:nvPr>
        </p:nvSpPr>
        <p:spPr>
          <a:xfrm>
            <a:off x="4874950" y="5771714"/>
            <a:ext cx="4705931" cy="293523"/>
          </a:xfrm>
        </p:spPr>
        <p:txBody>
          <a:bodyPr anchor="ctr">
            <a:noAutofit/>
          </a:bodyPr>
          <a:lstStyle>
            <a:lvl1pPr>
              <a:defRPr sz="1600">
                <a:solidFill>
                  <a:schemeClr val="bg1"/>
                </a:solidFill>
              </a:defRPr>
            </a:lvl1pPr>
          </a:lstStyle>
          <a:p>
            <a:pPr lvl="0"/>
            <a:r>
              <a:rPr lang="en-US"/>
              <a:t>Time</a:t>
            </a:r>
          </a:p>
        </p:txBody>
      </p:sp>
      <p:sp>
        <p:nvSpPr>
          <p:cNvPr id="60" name="Text Placeholder 32">
            <a:extLst>
              <a:ext uri="{FF2B5EF4-FFF2-40B4-BE49-F238E27FC236}">
                <a16:creationId xmlns:a16="http://schemas.microsoft.com/office/drawing/2014/main" id="{50D325A8-79DE-4F57-8C45-5AD2A5CCB97F}"/>
              </a:ext>
            </a:extLst>
          </p:cNvPr>
          <p:cNvSpPr>
            <a:spLocks noGrp="1"/>
          </p:cNvSpPr>
          <p:nvPr>
            <p:ph type="body" sz="quarter" idx="34" hasCustomPrompt="1"/>
          </p:nvPr>
        </p:nvSpPr>
        <p:spPr>
          <a:xfrm>
            <a:off x="4874950" y="6329153"/>
            <a:ext cx="4705931" cy="287259"/>
          </a:xfrm>
        </p:spPr>
        <p:txBody>
          <a:bodyPr anchor="ctr">
            <a:noAutofit/>
          </a:bodyPr>
          <a:lstStyle>
            <a:lvl1pPr>
              <a:defRPr sz="1600">
                <a:solidFill>
                  <a:schemeClr val="bg1"/>
                </a:solidFill>
              </a:defRPr>
            </a:lvl1pPr>
          </a:lstStyle>
          <a:p>
            <a:pPr lvl="0"/>
            <a:r>
              <a:rPr lang="en-US"/>
              <a:t>Time</a:t>
            </a:r>
          </a:p>
        </p:txBody>
      </p:sp>
    </p:spTree>
    <p:extLst>
      <p:ext uri="{BB962C8B-B14F-4D97-AF65-F5344CB8AC3E}">
        <p14:creationId xmlns:p14="http://schemas.microsoft.com/office/powerpoint/2010/main" val="1582701029"/>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3D27077-6ECE-446E-9295-9D1FECA629F3}"/>
              </a:ext>
            </a:extLst>
          </p:cNvPr>
          <p:cNvSpPr/>
          <p:nvPr userDrawn="1"/>
        </p:nvSpPr>
        <p:spPr bwMode="auto">
          <a:xfrm>
            <a:off x="10924033" y="6543040"/>
            <a:ext cx="994867" cy="233680"/>
          </a:xfrm>
          <a:prstGeom prst="rect">
            <a:avLst/>
          </a:prstGeom>
          <a:solidFill>
            <a:srgbClr val="0037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ctr" anchorCtr="0" forceAA="0" compatLnSpc="1">
            <a:prstTxWarp prst="textNoShape">
              <a:avLst/>
            </a:prstTxWarp>
            <a:noAutofit/>
          </a:bodyPr>
          <a:lstStyle/>
          <a:p>
            <a:pPr algn="ctr" defTabSz="1218463" fontAlgn="base">
              <a:spcBef>
                <a:spcPct val="0"/>
              </a:spcBef>
              <a:spcAft>
                <a:spcPct val="0"/>
              </a:spcAft>
            </a:pPr>
            <a:endParaRPr lang="en-US" sz="2399" spc="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6" name="Picture 5">
            <a:extLst>
              <a:ext uri="{FF2B5EF4-FFF2-40B4-BE49-F238E27FC236}">
                <a16:creationId xmlns:a16="http://schemas.microsoft.com/office/drawing/2014/main" id="{8FD35ADC-DFA2-4971-949A-9A517E42FA1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2" name="Title 1">
            <a:extLst>
              <a:ext uri="{FF2B5EF4-FFF2-40B4-BE49-F238E27FC236}">
                <a16:creationId xmlns:a16="http://schemas.microsoft.com/office/drawing/2014/main" id="{F284FA08-32E8-4397-B6C9-91A08DB7374A}"/>
              </a:ext>
            </a:extLst>
          </p:cNvPr>
          <p:cNvSpPr>
            <a:spLocks noGrp="1"/>
          </p:cNvSpPr>
          <p:nvPr>
            <p:ph type="title" hasCustomPrompt="1"/>
          </p:nvPr>
        </p:nvSpPr>
        <p:spPr>
          <a:xfrm>
            <a:off x="478366" y="2936560"/>
            <a:ext cx="11235267" cy="984885"/>
          </a:xfrm>
        </p:spPr>
        <p:txBody>
          <a:bodyPr/>
          <a:lstStyle>
            <a:lvl1pPr>
              <a:defRPr sz="6398">
                <a:solidFill>
                  <a:schemeClr val="bg1"/>
                </a:solidFill>
              </a:defRPr>
            </a:lvl1pPr>
          </a:lstStyle>
          <a:p>
            <a:r>
              <a:rPr lang="en-US"/>
              <a:t>Demo</a:t>
            </a:r>
          </a:p>
        </p:txBody>
      </p:sp>
      <p:sp>
        <p:nvSpPr>
          <p:cNvPr id="7" name="Rectangle 6">
            <a:extLst>
              <a:ext uri="{FF2B5EF4-FFF2-40B4-BE49-F238E27FC236}">
                <a16:creationId xmlns:a16="http://schemas.microsoft.com/office/drawing/2014/main" id="{C217D808-CF89-4F9A-B729-6C122F5E4298}"/>
              </a:ext>
            </a:extLst>
          </p:cNvPr>
          <p:cNvSpPr/>
          <p:nvPr userDrawn="1"/>
        </p:nvSpPr>
        <p:spPr bwMode="auto">
          <a:xfrm>
            <a:off x="375920" y="6543040"/>
            <a:ext cx="8249712" cy="233680"/>
          </a:xfrm>
          <a:prstGeom prst="rect">
            <a:avLst/>
          </a:prstGeom>
          <a:solidFill>
            <a:srgbClr val="00373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ctr" anchorCtr="0" forceAA="0" compatLnSpc="1">
            <a:prstTxWarp prst="textNoShape">
              <a:avLst/>
            </a:prstTxWarp>
            <a:noAutofit/>
          </a:bodyPr>
          <a:lstStyle/>
          <a:p>
            <a:pPr algn="ctr" defTabSz="1218463" fontAlgn="base">
              <a:spcBef>
                <a:spcPct val="0"/>
              </a:spcBef>
              <a:spcAft>
                <a:spcPct val="0"/>
              </a:spcAft>
            </a:pPr>
            <a:endParaRPr lang="en-US" sz="2399" spc="0">
              <a:gradFill>
                <a:gsLst>
                  <a:gs pos="0">
                    <a:srgbClr val="FFFFFF"/>
                  </a:gs>
                  <a:gs pos="100000">
                    <a:srgbClr val="FFFFFF"/>
                  </a:gs>
                </a:gsLst>
                <a:lin ang="54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4200093928"/>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al -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ACC69-DA2A-8840-971A-1F680F22BD79}"/>
              </a:ext>
            </a:extLst>
          </p:cNvPr>
          <p:cNvSpPr>
            <a:spLocks noGrp="1"/>
          </p:cNvSpPr>
          <p:nvPr>
            <p:ph type="title"/>
          </p:nvPr>
        </p:nvSpPr>
        <p:spPr>
          <a:xfrm>
            <a:off x="925284" y="553807"/>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BC23172-C1A0-DC48-B902-8F7AAF045756}"/>
              </a:ext>
            </a:extLst>
          </p:cNvPr>
          <p:cNvSpPr>
            <a:spLocks noGrp="1"/>
          </p:cNvSpPr>
          <p:nvPr>
            <p:ph idx="1"/>
          </p:nvPr>
        </p:nvSpPr>
        <p:spPr>
          <a:xfrm>
            <a:off x="925284" y="1825625"/>
            <a:ext cx="498203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A0FFE13-7953-BA4A-B4C4-38A81D2C52F6}"/>
              </a:ext>
            </a:extLst>
          </p:cNvPr>
          <p:cNvSpPr>
            <a:spLocks noGrp="1"/>
          </p:cNvSpPr>
          <p:nvPr>
            <p:ph type="dt" sz="half" idx="10"/>
          </p:nvPr>
        </p:nvSpPr>
        <p:spPr/>
        <p:txBody>
          <a:bodyPr/>
          <a:lstStyle/>
          <a:p>
            <a:fld id="{28633B14-648D-43C0-B078-3EB26C5058D1}" type="datetime1">
              <a:rPr lang="cs-CZ" smtClean="0"/>
              <a:t>16.05.2023</a:t>
            </a:fld>
            <a:endParaRPr lang="en-US"/>
          </a:p>
        </p:txBody>
      </p:sp>
      <p:sp>
        <p:nvSpPr>
          <p:cNvPr id="5" name="Footer Placeholder 4">
            <a:extLst>
              <a:ext uri="{FF2B5EF4-FFF2-40B4-BE49-F238E27FC236}">
                <a16:creationId xmlns:a16="http://schemas.microsoft.com/office/drawing/2014/main" id="{477D94D6-8847-1340-BECF-95006B88BB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C7DEF0-D404-3C45-A592-9BFC70C08A37}"/>
              </a:ext>
            </a:extLst>
          </p:cNvPr>
          <p:cNvSpPr>
            <a:spLocks noGrp="1"/>
          </p:cNvSpPr>
          <p:nvPr>
            <p:ph type="sldNum" sz="quarter" idx="12"/>
          </p:nvPr>
        </p:nvSpPr>
        <p:spPr/>
        <p:txBody>
          <a:bodyPr/>
          <a:lstStyle/>
          <a:p>
            <a:fld id="{7DCA3B56-ECA4-F246-9394-58426C04E9F5}" type="slidenum">
              <a:rPr lang="en-US" smtClean="0"/>
              <a:pPr/>
              <a:t>‹#›</a:t>
            </a:fld>
            <a:endParaRPr lang="en-US"/>
          </a:p>
        </p:txBody>
      </p:sp>
      <p:cxnSp>
        <p:nvCxnSpPr>
          <p:cNvPr id="10" name="Straight Connector 9">
            <a:extLst>
              <a:ext uri="{FF2B5EF4-FFF2-40B4-BE49-F238E27FC236}">
                <a16:creationId xmlns:a16="http://schemas.microsoft.com/office/drawing/2014/main" id="{14CCF8E5-BCB7-3743-BFF2-24F9E6F08237}"/>
              </a:ext>
            </a:extLst>
          </p:cNvPr>
          <p:cNvCxnSpPr/>
          <p:nvPr userDrawn="1"/>
        </p:nvCxnSpPr>
        <p:spPr>
          <a:xfrm>
            <a:off x="1051820" y="730975"/>
            <a:ext cx="94311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0B0E9315-9A3F-BD4C-B9B2-BAFDF7F9ECCC}"/>
              </a:ext>
            </a:extLst>
          </p:cNvPr>
          <p:cNvSpPr>
            <a:spLocks noGrp="1"/>
          </p:cNvSpPr>
          <p:nvPr>
            <p:ph idx="13"/>
          </p:nvPr>
        </p:nvSpPr>
        <p:spPr>
          <a:xfrm>
            <a:off x="6284686" y="1825625"/>
            <a:ext cx="498203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5">
            <a:extLst>
              <a:ext uri="{FF2B5EF4-FFF2-40B4-BE49-F238E27FC236}">
                <a16:creationId xmlns:a16="http://schemas.microsoft.com/office/drawing/2014/main" id="{967E37B2-B4BB-2347-CE29-0D12C16075C4}"/>
              </a:ext>
            </a:extLst>
          </p:cNvPr>
          <p:cNvGrpSpPr>
            <a:grpSpLocks noChangeAspect="1"/>
          </p:cNvGrpSpPr>
          <p:nvPr userDrawn="1"/>
        </p:nvGrpSpPr>
        <p:grpSpPr bwMode="auto">
          <a:xfrm>
            <a:off x="9813374" y="363292"/>
            <a:ext cx="1824584" cy="352800"/>
            <a:chOff x="663" y="462"/>
            <a:chExt cx="1536" cy="297"/>
          </a:xfrm>
        </p:grpSpPr>
        <p:sp>
          <p:nvSpPr>
            <p:cNvPr id="8" name="Freeform 6">
              <a:extLst>
                <a:ext uri="{FF2B5EF4-FFF2-40B4-BE49-F238E27FC236}">
                  <a16:creationId xmlns:a16="http://schemas.microsoft.com/office/drawing/2014/main" id="{F4E9E3F2-C386-8AF2-9446-71074339A6E3}"/>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6FFC379A-921D-36AC-9C79-EFB42FB22B5C}"/>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D52C5703-39BD-2670-0809-39EACF02097A}"/>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F6EAA833-3376-3C41-CACB-228DF85AD330}"/>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F9F1C4EE-EACC-5272-85F4-E0A432067FA5}"/>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1">
              <a:extLst>
                <a:ext uri="{FF2B5EF4-FFF2-40B4-BE49-F238E27FC236}">
                  <a16:creationId xmlns:a16="http://schemas.microsoft.com/office/drawing/2014/main" id="{1BD9B19C-9364-A478-B690-8ADB8EA8FD63}"/>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EA004A75-BD3E-2321-CFC3-F625C79BC278}"/>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F328C217-9505-CF20-F20F-1636A988DC68}"/>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4A435056-3AFE-FA1B-2FC7-F0C1120D8307}"/>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2E328848-1596-C48D-53CD-AC07609E09E1}"/>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6">
              <a:extLst>
                <a:ext uri="{FF2B5EF4-FFF2-40B4-BE49-F238E27FC236}">
                  <a16:creationId xmlns:a16="http://schemas.microsoft.com/office/drawing/2014/main" id="{8FBE7F79-B032-5558-1E3C-1D0EA0885D3D}"/>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7">
              <a:extLst>
                <a:ext uri="{FF2B5EF4-FFF2-40B4-BE49-F238E27FC236}">
                  <a16:creationId xmlns:a16="http://schemas.microsoft.com/office/drawing/2014/main" id="{FDB68438-B639-0266-EA14-B209380C4BF7}"/>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70573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CA2FBCA5-FF7F-4893-A009-389B11647BE5}"/>
              </a:ext>
            </a:extLst>
          </p:cNvPr>
          <p:cNvPicPr>
            <a:picLocks noChangeAspect="1"/>
          </p:cNvPicPr>
          <p:nvPr userDrawn="1"/>
        </p:nvPicPr>
        <p:blipFill>
          <a:blip r:embed="rId2"/>
          <a:stretch>
            <a:fillRect/>
          </a:stretch>
        </p:blipFill>
        <p:spPr>
          <a:xfrm>
            <a:off x="3842295" y="0"/>
            <a:ext cx="8094945" cy="6858000"/>
          </a:xfrm>
          <a:prstGeom prst="rect">
            <a:avLst/>
          </a:prstGeom>
        </p:spPr>
      </p:pic>
      <p:pic>
        <p:nvPicPr>
          <p:cNvPr id="7" name="Picture 6">
            <a:extLst>
              <a:ext uri="{FF2B5EF4-FFF2-40B4-BE49-F238E27FC236}">
                <a16:creationId xmlns:a16="http://schemas.microsoft.com/office/drawing/2014/main" id="{926800D1-0974-400C-8BFF-FCD0EDB6CD3A}"/>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79999" y="524223"/>
            <a:ext cx="2019724" cy="364244"/>
          </a:xfrm>
          <a:prstGeom prst="rect">
            <a:avLst/>
          </a:prstGeom>
        </p:spPr>
      </p:pic>
      <p:sp>
        <p:nvSpPr>
          <p:cNvPr id="3" name="Picture Placeholder 2">
            <a:extLst>
              <a:ext uri="{FF2B5EF4-FFF2-40B4-BE49-F238E27FC236}">
                <a16:creationId xmlns:a16="http://schemas.microsoft.com/office/drawing/2014/main" id="{76ACDD46-5FD6-43CE-A42F-7F4643D73479}"/>
              </a:ext>
            </a:extLst>
          </p:cNvPr>
          <p:cNvSpPr>
            <a:spLocks noGrp="1"/>
          </p:cNvSpPr>
          <p:nvPr>
            <p:ph type="pic" sz="quarter" idx="13"/>
          </p:nvPr>
        </p:nvSpPr>
        <p:spPr>
          <a:xfrm>
            <a:off x="479999" y="5346205"/>
            <a:ext cx="1056000" cy="260509"/>
          </a:xfrm>
          <a:prstGeom prst="roundRect">
            <a:avLst>
              <a:gd name="adj" fmla="val 10109"/>
            </a:avLst>
          </a:prstGeom>
        </p:spPr>
        <p:txBody>
          <a:bodyPr anchor="ctr"/>
          <a:lstStyle>
            <a:lvl1pPr marL="0" indent="0">
              <a:buNone/>
              <a:defRPr sz="1600"/>
            </a:lvl1pPr>
          </a:lstStyle>
          <a:p>
            <a:endParaRPr lang="en-US"/>
          </a:p>
        </p:txBody>
      </p:sp>
      <p:sp>
        <p:nvSpPr>
          <p:cNvPr id="15" name="Text Placeholder 14">
            <a:extLst>
              <a:ext uri="{FF2B5EF4-FFF2-40B4-BE49-F238E27FC236}">
                <a16:creationId xmlns:a16="http://schemas.microsoft.com/office/drawing/2014/main" id="{8BAA114B-817D-4139-97BE-4AA934DAB5FA}"/>
              </a:ext>
            </a:extLst>
          </p:cNvPr>
          <p:cNvSpPr>
            <a:spLocks noGrp="1"/>
          </p:cNvSpPr>
          <p:nvPr>
            <p:ph type="body" sz="quarter" idx="18" hasCustomPrompt="1"/>
          </p:nvPr>
        </p:nvSpPr>
        <p:spPr>
          <a:xfrm>
            <a:off x="1719936" y="4847167"/>
            <a:ext cx="3227984" cy="369204"/>
          </a:xfrm>
          <a:prstGeom prst="rect">
            <a:avLst/>
          </a:prstGeom>
        </p:spPr>
        <p:txBody>
          <a:bodyPr wrap="square" lIns="0">
            <a:spAutoFit/>
          </a:bodyPr>
          <a:lstStyle>
            <a:lvl1pPr marL="0" indent="0">
              <a:buNone/>
              <a:defRPr sz="2399"/>
            </a:lvl1pPr>
          </a:lstStyle>
          <a:p>
            <a:pPr lvl="0"/>
            <a:r>
              <a:rPr lang="en-US"/>
              <a:t>Speaker Name</a:t>
            </a:r>
          </a:p>
        </p:txBody>
      </p:sp>
      <p:sp>
        <p:nvSpPr>
          <p:cNvPr id="18" name="Text Placeholder 17">
            <a:extLst>
              <a:ext uri="{FF2B5EF4-FFF2-40B4-BE49-F238E27FC236}">
                <a16:creationId xmlns:a16="http://schemas.microsoft.com/office/drawing/2014/main" id="{E857A6C7-4617-40A4-978D-081D073C68FA}"/>
              </a:ext>
            </a:extLst>
          </p:cNvPr>
          <p:cNvSpPr>
            <a:spLocks noGrp="1"/>
          </p:cNvSpPr>
          <p:nvPr>
            <p:ph type="body" sz="quarter" idx="20" hasCustomPrompt="1"/>
          </p:nvPr>
        </p:nvSpPr>
        <p:spPr>
          <a:xfrm>
            <a:off x="1719936" y="5417766"/>
            <a:ext cx="3227984" cy="574260"/>
          </a:xfrm>
          <a:prstGeom prst="rect">
            <a:avLst/>
          </a:prstGeom>
        </p:spPr>
        <p:txBody>
          <a:bodyPr lIns="0"/>
          <a:lstStyle>
            <a:lvl1pPr marL="0" indent="0">
              <a:buNone/>
              <a:defRPr sz="1866"/>
            </a:lvl1pPr>
          </a:lstStyle>
          <a:p>
            <a:r>
              <a:rPr lang="en-IN"/>
              <a:t>Job Title</a:t>
            </a:r>
          </a:p>
          <a:p>
            <a:r>
              <a:rPr lang="en-IN"/>
              <a:t>   Email</a:t>
            </a:r>
          </a:p>
        </p:txBody>
      </p:sp>
      <p:sp>
        <p:nvSpPr>
          <p:cNvPr id="24" name="Text Placeholder 5">
            <a:extLst>
              <a:ext uri="{FF2B5EF4-FFF2-40B4-BE49-F238E27FC236}">
                <a16:creationId xmlns:a16="http://schemas.microsoft.com/office/drawing/2014/main" id="{8D4EDB69-78E3-4E03-BC8B-4243D85813A1}"/>
              </a:ext>
            </a:extLst>
          </p:cNvPr>
          <p:cNvSpPr>
            <a:spLocks noGrp="1"/>
          </p:cNvSpPr>
          <p:nvPr>
            <p:ph type="body" sz="quarter" idx="10"/>
          </p:nvPr>
        </p:nvSpPr>
        <p:spPr>
          <a:xfrm>
            <a:off x="480001" y="2363035"/>
            <a:ext cx="11233634" cy="1805110"/>
          </a:xfrm>
          <a:prstGeom prst="rect">
            <a:avLst/>
          </a:prstGeom>
        </p:spPr>
        <p:txBody>
          <a:bodyPr wrap="square" lIns="0">
            <a:spAutoFit/>
          </a:bodyPr>
          <a:lstStyle>
            <a:lvl1pPr marL="0" indent="0">
              <a:lnSpc>
                <a:spcPct val="100000"/>
              </a:lnSpc>
              <a:spcBef>
                <a:spcPts val="0"/>
              </a:spcBef>
              <a:buNone/>
              <a:defRPr sz="5865" i="0" spc="0" baseline="0">
                <a:solidFill>
                  <a:schemeClr val="bg1"/>
                </a:solidFill>
                <a:latin typeface="+mj-lt"/>
              </a:defRPr>
            </a:lvl1pPr>
          </a:lstStyle>
          <a:p>
            <a:pPr lvl="0"/>
            <a:r>
              <a:rPr lang="en-US"/>
              <a:t>Click to edit </a:t>
            </a:r>
          </a:p>
          <a:p>
            <a:pPr lvl="0"/>
            <a:r>
              <a:rPr lang="en-US"/>
              <a:t>title style</a:t>
            </a:r>
          </a:p>
        </p:txBody>
      </p:sp>
      <p:sp>
        <p:nvSpPr>
          <p:cNvPr id="21" name="Picture Placeholder 2">
            <a:extLst>
              <a:ext uri="{FF2B5EF4-FFF2-40B4-BE49-F238E27FC236}">
                <a16:creationId xmlns:a16="http://schemas.microsoft.com/office/drawing/2014/main" id="{79B7A579-3BFD-4025-8A79-F4D0240428CB}"/>
              </a:ext>
            </a:extLst>
          </p:cNvPr>
          <p:cNvSpPr>
            <a:spLocks noGrp="1"/>
          </p:cNvSpPr>
          <p:nvPr>
            <p:ph type="pic" sz="quarter" idx="21"/>
          </p:nvPr>
        </p:nvSpPr>
        <p:spPr>
          <a:xfrm>
            <a:off x="5211663" y="5346205"/>
            <a:ext cx="1056000" cy="260509"/>
          </a:xfrm>
          <a:prstGeom prst="roundRect">
            <a:avLst>
              <a:gd name="adj" fmla="val 10109"/>
            </a:avLst>
          </a:prstGeom>
        </p:spPr>
        <p:txBody>
          <a:bodyPr anchor="ctr"/>
          <a:lstStyle>
            <a:lvl1pPr marL="0" indent="0">
              <a:buNone/>
              <a:defRPr sz="1600"/>
            </a:lvl1pPr>
          </a:lstStyle>
          <a:p>
            <a:endParaRPr lang="en-US"/>
          </a:p>
        </p:txBody>
      </p:sp>
      <p:sp>
        <p:nvSpPr>
          <p:cNvPr id="22" name="Text Placeholder 14">
            <a:extLst>
              <a:ext uri="{FF2B5EF4-FFF2-40B4-BE49-F238E27FC236}">
                <a16:creationId xmlns:a16="http://schemas.microsoft.com/office/drawing/2014/main" id="{1E4A8CF2-1E21-4460-91C8-C403BE5BAAA2}"/>
              </a:ext>
            </a:extLst>
          </p:cNvPr>
          <p:cNvSpPr>
            <a:spLocks noGrp="1"/>
          </p:cNvSpPr>
          <p:nvPr>
            <p:ph type="body" sz="quarter" idx="22" hasCustomPrompt="1"/>
          </p:nvPr>
        </p:nvSpPr>
        <p:spPr>
          <a:xfrm>
            <a:off x="6451600" y="4847167"/>
            <a:ext cx="3227984" cy="369204"/>
          </a:xfrm>
          <a:prstGeom prst="rect">
            <a:avLst/>
          </a:prstGeom>
        </p:spPr>
        <p:txBody>
          <a:bodyPr wrap="square" lIns="0">
            <a:spAutoFit/>
          </a:bodyPr>
          <a:lstStyle>
            <a:lvl1pPr marL="0" indent="0">
              <a:buNone/>
              <a:defRPr sz="2399"/>
            </a:lvl1pPr>
          </a:lstStyle>
          <a:p>
            <a:pPr lvl="0"/>
            <a:r>
              <a:rPr lang="en-US"/>
              <a:t>Speaker Name</a:t>
            </a:r>
          </a:p>
        </p:txBody>
      </p:sp>
      <p:sp>
        <p:nvSpPr>
          <p:cNvPr id="23" name="Text Placeholder 17">
            <a:extLst>
              <a:ext uri="{FF2B5EF4-FFF2-40B4-BE49-F238E27FC236}">
                <a16:creationId xmlns:a16="http://schemas.microsoft.com/office/drawing/2014/main" id="{ED69CD27-FD8D-4EEC-9E86-9E351CE5A7ED}"/>
              </a:ext>
            </a:extLst>
          </p:cNvPr>
          <p:cNvSpPr>
            <a:spLocks noGrp="1"/>
          </p:cNvSpPr>
          <p:nvPr>
            <p:ph type="body" sz="quarter" idx="23" hasCustomPrompt="1"/>
          </p:nvPr>
        </p:nvSpPr>
        <p:spPr>
          <a:xfrm>
            <a:off x="6451600" y="5417766"/>
            <a:ext cx="3227984" cy="574260"/>
          </a:xfrm>
          <a:prstGeom prst="rect">
            <a:avLst/>
          </a:prstGeom>
        </p:spPr>
        <p:txBody>
          <a:bodyPr lIns="0"/>
          <a:lstStyle>
            <a:lvl1pPr marL="0" indent="0">
              <a:buNone/>
              <a:defRPr sz="1866"/>
            </a:lvl1pPr>
          </a:lstStyle>
          <a:p>
            <a:r>
              <a:rPr lang="en-IN"/>
              <a:t>Job Title</a:t>
            </a:r>
          </a:p>
          <a:p>
            <a:r>
              <a:rPr lang="en-IN"/>
              <a:t>   Email</a:t>
            </a:r>
          </a:p>
        </p:txBody>
      </p:sp>
    </p:spTree>
    <p:extLst>
      <p:ext uri="{BB962C8B-B14F-4D97-AF65-F5344CB8AC3E}">
        <p14:creationId xmlns:p14="http://schemas.microsoft.com/office/powerpoint/2010/main" val="1999335373"/>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Master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55644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3188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4968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D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E3C00-3D03-4257-825A-2C73D882B051}"/>
              </a:ext>
            </a:extLst>
          </p:cNvPr>
          <p:cNvSpPr>
            <a:spLocks noGrp="1"/>
          </p:cNvSpPr>
          <p:nvPr>
            <p:ph type="title" hasCustomPrompt="1"/>
          </p:nvPr>
        </p:nvSpPr>
        <p:spPr>
          <a:xfrm>
            <a:off x="508001" y="279400"/>
            <a:ext cx="11176000" cy="738536"/>
          </a:xfrm>
          <a:prstGeom prst="rect">
            <a:avLst/>
          </a:prstGeom>
        </p:spPr>
        <p:txBody>
          <a:bodyPr lIns="0" tIns="0" rIns="0" bIns="0"/>
          <a:lstStyle/>
          <a:p>
            <a:r>
              <a:rPr lang="en-US"/>
              <a:t>Click to edit Master title style</a:t>
            </a:r>
          </a:p>
        </p:txBody>
      </p:sp>
      <p:pic>
        <p:nvPicPr>
          <p:cNvPr id="6" name="Picture 23">
            <a:extLst>
              <a:ext uri="{FF2B5EF4-FFF2-40B4-BE49-F238E27FC236}">
                <a16:creationId xmlns:a16="http://schemas.microsoft.com/office/drawing/2014/main" id="{D9442BE9-B2DA-0842-BF6E-089097E4EE26}"/>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10981691" y="6590877"/>
            <a:ext cx="702309" cy="126656"/>
          </a:xfrm>
          <a:prstGeom prst="rect">
            <a:avLst/>
          </a:prstGeom>
          <a:effectLst/>
        </p:spPr>
      </p:pic>
      <p:sp>
        <p:nvSpPr>
          <p:cNvPr id="7" name="TextBox 6">
            <a:extLst>
              <a:ext uri="{FF2B5EF4-FFF2-40B4-BE49-F238E27FC236}">
                <a16:creationId xmlns:a16="http://schemas.microsoft.com/office/drawing/2014/main" id="{8E8D4790-41DC-4621-987E-7603AA89234C}"/>
              </a:ext>
            </a:extLst>
          </p:cNvPr>
          <p:cNvSpPr txBox="1"/>
          <p:nvPr userDrawn="1"/>
        </p:nvSpPr>
        <p:spPr>
          <a:xfrm>
            <a:off x="508001" y="6617675"/>
            <a:ext cx="4900053" cy="102657"/>
          </a:xfrm>
          <a:prstGeom prst="rect">
            <a:avLst/>
          </a:prstGeom>
          <a:noFill/>
        </p:spPr>
        <p:txBody>
          <a:bodyPr wrap="none" lIns="0" tIns="0" rIns="0" bIns="0" rtlCol="0">
            <a:spAutoFit/>
          </a:bodyPr>
          <a:lstStyle/>
          <a:p>
            <a:pPr>
              <a:lnSpc>
                <a:spcPct val="100000"/>
              </a:lnSpc>
            </a:pPr>
            <a:r>
              <a:rPr lang="en-US" sz="667" spc="0">
                <a:solidFill>
                  <a:srgbClr val="467D7D"/>
                </a:solidFill>
                <a:latin typeface="+mn-lt"/>
              </a:rPr>
              <a:t>© 2021 Veeam Software. Confidential information. All rights reserved. All trademarks are the property of their respective owners.</a:t>
            </a:r>
          </a:p>
        </p:txBody>
      </p:sp>
    </p:spTree>
    <p:extLst>
      <p:ext uri="{BB962C8B-B14F-4D97-AF65-F5344CB8AC3E}">
        <p14:creationId xmlns:p14="http://schemas.microsoft.com/office/powerpoint/2010/main" val="4261156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 Te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FF32D7-1D5C-9144-8C4D-CDCFE914D02C}"/>
              </a:ext>
            </a:extLst>
          </p:cNvPr>
          <p:cNvSpPr/>
          <p:nvPr userDrawn="1"/>
        </p:nvSpPr>
        <p:spPr>
          <a:xfrm>
            <a:off x="9595556" y="248356"/>
            <a:ext cx="2257777"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4556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al - 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5E36459-6500-F74A-A031-3A47510D72DA}"/>
              </a:ext>
            </a:extLst>
          </p:cNvPr>
          <p:cNvSpPr>
            <a:spLocks noGrp="1"/>
          </p:cNvSpPr>
          <p:nvPr>
            <p:ph type="dt" sz="half" idx="10"/>
          </p:nvPr>
        </p:nvSpPr>
        <p:spPr/>
        <p:txBody>
          <a:bodyPr/>
          <a:lstStyle/>
          <a:p>
            <a:fld id="{B408F334-C640-4C96-A914-7505AE04D773}" type="datetime1">
              <a:rPr lang="cs-CZ" smtClean="0"/>
              <a:t>16.05.2023</a:t>
            </a:fld>
            <a:endParaRPr lang="en-US"/>
          </a:p>
        </p:txBody>
      </p:sp>
      <p:sp>
        <p:nvSpPr>
          <p:cNvPr id="5" name="Footer Placeholder 4">
            <a:extLst>
              <a:ext uri="{FF2B5EF4-FFF2-40B4-BE49-F238E27FC236}">
                <a16:creationId xmlns:a16="http://schemas.microsoft.com/office/drawing/2014/main" id="{54B747A9-2438-954B-B26D-E4257248C1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50D4EC-D5FA-934A-97A0-7995AB9701DB}"/>
              </a:ext>
            </a:extLst>
          </p:cNvPr>
          <p:cNvSpPr>
            <a:spLocks noGrp="1"/>
          </p:cNvSpPr>
          <p:nvPr>
            <p:ph type="sldNum" sz="quarter" idx="12"/>
          </p:nvPr>
        </p:nvSpPr>
        <p:spPr/>
        <p:txBody>
          <a:bodyPr/>
          <a:lstStyle/>
          <a:p>
            <a:fld id="{7DCA3B56-ECA4-F246-9394-58426C04E9F5}" type="slidenum">
              <a:rPr lang="en-US" smtClean="0"/>
              <a:pPr/>
              <a:t>‹#›</a:t>
            </a:fld>
            <a:endParaRPr lang="en-US"/>
          </a:p>
        </p:txBody>
      </p:sp>
      <p:pic>
        <p:nvPicPr>
          <p:cNvPr id="8" name="Picture 7">
            <a:extLst>
              <a:ext uri="{FF2B5EF4-FFF2-40B4-BE49-F238E27FC236}">
                <a16:creationId xmlns:a16="http://schemas.microsoft.com/office/drawing/2014/main" id="{46082A8C-83B4-D441-9289-7537A5A65D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16549" y="363292"/>
            <a:ext cx="1820509" cy="352229"/>
          </a:xfrm>
          <a:prstGeom prst="rect">
            <a:avLst/>
          </a:prstGeom>
        </p:spPr>
      </p:pic>
      <p:sp>
        <p:nvSpPr>
          <p:cNvPr id="9" name="Title 1">
            <a:extLst>
              <a:ext uri="{FF2B5EF4-FFF2-40B4-BE49-F238E27FC236}">
                <a16:creationId xmlns:a16="http://schemas.microsoft.com/office/drawing/2014/main" id="{1F57ABE5-AF3B-EF4F-BB11-B79EA884303D}"/>
              </a:ext>
            </a:extLst>
          </p:cNvPr>
          <p:cNvSpPr>
            <a:spLocks noGrp="1"/>
          </p:cNvSpPr>
          <p:nvPr>
            <p:ph type="title"/>
          </p:nvPr>
        </p:nvSpPr>
        <p:spPr>
          <a:xfrm>
            <a:off x="925284" y="553807"/>
            <a:ext cx="10515600" cy="1325563"/>
          </a:xfrm>
          <a:prstGeom prst="rect">
            <a:avLst/>
          </a:prstGeom>
        </p:spPr>
        <p:txBody>
          <a:bodyPr/>
          <a:lstStyle/>
          <a:p>
            <a:r>
              <a:rPr lang="en-US"/>
              <a:t>Click to edit Master title style</a:t>
            </a:r>
          </a:p>
        </p:txBody>
      </p:sp>
      <p:sp>
        <p:nvSpPr>
          <p:cNvPr id="10" name="Content Placeholder 2">
            <a:extLst>
              <a:ext uri="{FF2B5EF4-FFF2-40B4-BE49-F238E27FC236}">
                <a16:creationId xmlns:a16="http://schemas.microsoft.com/office/drawing/2014/main" id="{D1DB7C6F-7F97-0B43-9321-8B71A45E36C2}"/>
              </a:ext>
            </a:extLst>
          </p:cNvPr>
          <p:cNvSpPr>
            <a:spLocks noGrp="1"/>
          </p:cNvSpPr>
          <p:nvPr>
            <p:ph idx="1"/>
          </p:nvPr>
        </p:nvSpPr>
        <p:spPr>
          <a:xfrm>
            <a:off x="925284" y="1825625"/>
            <a:ext cx="10428516"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1916DFFC-4F22-D043-9E29-352B0592A660}"/>
              </a:ext>
            </a:extLst>
          </p:cNvPr>
          <p:cNvCxnSpPr/>
          <p:nvPr userDrawn="1"/>
        </p:nvCxnSpPr>
        <p:spPr>
          <a:xfrm>
            <a:off x="1051820" y="730975"/>
            <a:ext cx="94311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418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White - Standard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EF02B22-4D38-294A-8E24-C8E34B8A745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p>
        </p:txBody>
      </p:sp>
      <p:sp>
        <p:nvSpPr>
          <p:cNvPr id="4" name="Date Placeholder 3">
            <a:extLst>
              <a:ext uri="{FF2B5EF4-FFF2-40B4-BE49-F238E27FC236}">
                <a16:creationId xmlns:a16="http://schemas.microsoft.com/office/drawing/2014/main" id="{D5E36459-6500-F74A-A031-3A47510D72DA}"/>
              </a:ext>
            </a:extLst>
          </p:cNvPr>
          <p:cNvSpPr>
            <a:spLocks noGrp="1"/>
          </p:cNvSpPr>
          <p:nvPr>
            <p:ph type="dt" sz="half" idx="10"/>
          </p:nvPr>
        </p:nvSpPr>
        <p:spPr/>
        <p:txBody>
          <a:bodyPr/>
          <a:lstStyle/>
          <a:p>
            <a:fld id="{2EE8B38E-7336-4C1D-BCBD-3C37E8D4AA30}" type="datetime1">
              <a:rPr lang="cs-CZ" smtClean="0"/>
              <a:t>16.05.2023</a:t>
            </a:fld>
            <a:endParaRPr lang="en-US"/>
          </a:p>
        </p:txBody>
      </p:sp>
      <p:sp>
        <p:nvSpPr>
          <p:cNvPr id="5" name="Footer Placeholder 4">
            <a:extLst>
              <a:ext uri="{FF2B5EF4-FFF2-40B4-BE49-F238E27FC236}">
                <a16:creationId xmlns:a16="http://schemas.microsoft.com/office/drawing/2014/main" id="{54B747A9-2438-954B-B26D-E4257248C1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50D4EC-D5FA-934A-97A0-7995AB9701DB}"/>
              </a:ext>
            </a:extLst>
          </p:cNvPr>
          <p:cNvSpPr>
            <a:spLocks noGrp="1"/>
          </p:cNvSpPr>
          <p:nvPr>
            <p:ph type="sldNum" sz="quarter" idx="12"/>
          </p:nvPr>
        </p:nvSpPr>
        <p:spPr/>
        <p:txBody>
          <a:bodyPr/>
          <a:lstStyle/>
          <a:p>
            <a:fld id="{7DCA3B56-ECA4-F246-9394-58426C04E9F5}" type="slidenum">
              <a:rPr lang="en-US" smtClean="0"/>
              <a:pPr/>
              <a:t>‹#›</a:t>
            </a:fld>
            <a:endParaRPr lang="en-US"/>
          </a:p>
        </p:txBody>
      </p:sp>
      <p:sp>
        <p:nvSpPr>
          <p:cNvPr id="9" name="Title 1">
            <a:extLst>
              <a:ext uri="{FF2B5EF4-FFF2-40B4-BE49-F238E27FC236}">
                <a16:creationId xmlns:a16="http://schemas.microsoft.com/office/drawing/2014/main" id="{1F57ABE5-AF3B-EF4F-BB11-B79EA884303D}"/>
              </a:ext>
            </a:extLst>
          </p:cNvPr>
          <p:cNvSpPr>
            <a:spLocks noGrp="1"/>
          </p:cNvSpPr>
          <p:nvPr>
            <p:ph type="title"/>
          </p:nvPr>
        </p:nvSpPr>
        <p:spPr>
          <a:xfrm>
            <a:off x="925284" y="553807"/>
            <a:ext cx="10515600" cy="1325563"/>
          </a:xfrm>
          <a:prstGeom prst="rect">
            <a:avLst/>
          </a:prstGeom>
        </p:spPr>
        <p:txBody>
          <a:bodyPr/>
          <a:lstStyle>
            <a:lvl1pPr>
              <a:defRPr baseline="0">
                <a:solidFill>
                  <a:schemeClr val="accent1"/>
                </a:solidFill>
              </a:defRPr>
            </a:lvl1pPr>
          </a:lstStyle>
          <a:p>
            <a:r>
              <a:rPr lang="en-US"/>
              <a:t>Click to edit Master title style</a:t>
            </a:r>
            <a:endParaRPr lang="en-US" dirty="0"/>
          </a:p>
        </p:txBody>
      </p:sp>
      <p:sp>
        <p:nvSpPr>
          <p:cNvPr id="10" name="Content Placeholder 2">
            <a:extLst>
              <a:ext uri="{FF2B5EF4-FFF2-40B4-BE49-F238E27FC236}">
                <a16:creationId xmlns:a16="http://schemas.microsoft.com/office/drawing/2014/main" id="{D1DB7C6F-7F97-0B43-9321-8B71A45E36C2}"/>
              </a:ext>
            </a:extLst>
          </p:cNvPr>
          <p:cNvSpPr>
            <a:spLocks noGrp="1"/>
          </p:cNvSpPr>
          <p:nvPr>
            <p:ph idx="1"/>
          </p:nvPr>
        </p:nvSpPr>
        <p:spPr>
          <a:xfrm>
            <a:off x="925284" y="1825625"/>
            <a:ext cx="10428516" cy="4351338"/>
          </a:xfrm>
          <a:prstGeom prst="rect">
            <a:avLst/>
          </a:prstGeo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1916DFFC-4F22-D043-9E29-352B0592A660}"/>
              </a:ext>
            </a:extLst>
          </p:cNvPr>
          <p:cNvCxnSpPr/>
          <p:nvPr userDrawn="1"/>
        </p:nvCxnSpPr>
        <p:spPr>
          <a:xfrm>
            <a:off x="1051820" y="730975"/>
            <a:ext cx="94311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6" name="Group 5">
            <a:extLst>
              <a:ext uri="{FF2B5EF4-FFF2-40B4-BE49-F238E27FC236}">
                <a16:creationId xmlns:a16="http://schemas.microsoft.com/office/drawing/2014/main" id="{CE09948D-D5C5-8E1B-6934-CF349F0E5032}"/>
              </a:ext>
            </a:extLst>
          </p:cNvPr>
          <p:cNvGrpSpPr>
            <a:grpSpLocks noChangeAspect="1"/>
          </p:cNvGrpSpPr>
          <p:nvPr userDrawn="1"/>
        </p:nvGrpSpPr>
        <p:grpSpPr bwMode="auto">
          <a:xfrm>
            <a:off x="9813374" y="363292"/>
            <a:ext cx="1824584" cy="352800"/>
            <a:chOff x="663" y="462"/>
            <a:chExt cx="1536" cy="297"/>
          </a:xfrm>
        </p:grpSpPr>
        <p:sp>
          <p:nvSpPr>
            <p:cNvPr id="37" name="Freeform 6">
              <a:extLst>
                <a:ext uri="{FF2B5EF4-FFF2-40B4-BE49-F238E27FC236}">
                  <a16:creationId xmlns:a16="http://schemas.microsoft.com/office/drawing/2014/main" id="{80E3C0D4-5090-C752-D6D9-AD0D949BDCE9}"/>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7">
              <a:extLst>
                <a:ext uri="{FF2B5EF4-FFF2-40B4-BE49-F238E27FC236}">
                  <a16:creationId xmlns:a16="http://schemas.microsoft.com/office/drawing/2014/main" id="{2D7BE49F-540B-D14B-8595-46C91B77E0AD}"/>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8">
              <a:extLst>
                <a:ext uri="{FF2B5EF4-FFF2-40B4-BE49-F238E27FC236}">
                  <a16:creationId xmlns:a16="http://schemas.microsoft.com/office/drawing/2014/main" id="{5797FB85-ACE3-66BE-5502-58123162E4AC}"/>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9">
              <a:extLst>
                <a:ext uri="{FF2B5EF4-FFF2-40B4-BE49-F238E27FC236}">
                  <a16:creationId xmlns:a16="http://schemas.microsoft.com/office/drawing/2014/main" id="{7501B7E9-5BD2-16E1-79BF-7AD4941CA667}"/>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0">
              <a:extLst>
                <a:ext uri="{FF2B5EF4-FFF2-40B4-BE49-F238E27FC236}">
                  <a16:creationId xmlns:a16="http://schemas.microsoft.com/office/drawing/2014/main" id="{1A1D7C87-3D40-7128-3AD9-0D76FF6F8843}"/>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11">
              <a:extLst>
                <a:ext uri="{FF2B5EF4-FFF2-40B4-BE49-F238E27FC236}">
                  <a16:creationId xmlns:a16="http://schemas.microsoft.com/office/drawing/2014/main" id="{53A6D6C6-522C-3941-3C1F-341EAE30785B}"/>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2">
              <a:extLst>
                <a:ext uri="{FF2B5EF4-FFF2-40B4-BE49-F238E27FC236}">
                  <a16:creationId xmlns:a16="http://schemas.microsoft.com/office/drawing/2014/main" id="{DC1D74B5-293E-961B-FF0C-8DF4555F4A0A}"/>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3">
              <a:extLst>
                <a:ext uri="{FF2B5EF4-FFF2-40B4-BE49-F238E27FC236}">
                  <a16:creationId xmlns:a16="http://schemas.microsoft.com/office/drawing/2014/main" id="{2E199AA0-E676-D770-DC8A-69B23249BAB5}"/>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4">
              <a:extLst>
                <a:ext uri="{FF2B5EF4-FFF2-40B4-BE49-F238E27FC236}">
                  <a16:creationId xmlns:a16="http://schemas.microsoft.com/office/drawing/2014/main" id="{4F095F4B-8B79-46E4-94B8-879BE4CE9155}"/>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5">
              <a:extLst>
                <a:ext uri="{FF2B5EF4-FFF2-40B4-BE49-F238E27FC236}">
                  <a16:creationId xmlns:a16="http://schemas.microsoft.com/office/drawing/2014/main" id="{7E65DD85-3166-2B02-AA79-281287B40F50}"/>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6">
              <a:extLst>
                <a:ext uri="{FF2B5EF4-FFF2-40B4-BE49-F238E27FC236}">
                  <a16:creationId xmlns:a16="http://schemas.microsoft.com/office/drawing/2014/main" id="{56AA4EE4-6D55-E8A9-1355-836275A8DE95}"/>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7">
              <a:extLst>
                <a:ext uri="{FF2B5EF4-FFF2-40B4-BE49-F238E27FC236}">
                  <a16:creationId xmlns:a16="http://schemas.microsoft.com/office/drawing/2014/main" id="{50E33028-FCD4-BA83-56E1-8FAD64BBDB5D}"/>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68965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eal -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ACC69-DA2A-8840-971A-1F680F22BD79}"/>
              </a:ext>
            </a:extLst>
          </p:cNvPr>
          <p:cNvSpPr>
            <a:spLocks noGrp="1"/>
          </p:cNvSpPr>
          <p:nvPr>
            <p:ph type="title"/>
          </p:nvPr>
        </p:nvSpPr>
        <p:spPr>
          <a:xfrm>
            <a:off x="925284" y="553807"/>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BC23172-C1A0-DC48-B902-8F7AAF045756}"/>
              </a:ext>
            </a:extLst>
          </p:cNvPr>
          <p:cNvSpPr>
            <a:spLocks noGrp="1"/>
          </p:cNvSpPr>
          <p:nvPr>
            <p:ph idx="1"/>
          </p:nvPr>
        </p:nvSpPr>
        <p:spPr>
          <a:xfrm>
            <a:off x="925284" y="1825625"/>
            <a:ext cx="498203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A0FFE13-7953-BA4A-B4C4-38A81D2C52F6}"/>
              </a:ext>
            </a:extLst>
          </p:cNvPr>
          <p:cNvSpPr>
            <a:spLocks noGrp="1"/>
          </p:cNvSpPr>
          <p:nvPr>
            <p:ph type="dt" sz="half" idx="10"/>
          </p:nvPr>
        </p:nvSpPr>
        <p:spPr/>
        <p:txBody>
          <a:bodyPr/>
          <a:lstStyle/>
          <a:p>
            <a:fld id="{BF508E4F-D375-4CB6-9C45-96551E6C25B7}" type="datetime1">
              <a:rPr lang="cs-CZ" smtClean="0"/>
              <a:t>16.05.2023</a:t>
            </a:fld>
            <a:endParaRPr lang="en-US"/>
          </a:p>
        </p:txBody>
      </p:sp>
      <p:sp>
        <p:nvSpPr>
          <p:cNvPr id="5" name="Footer Placeholder 4">
            <a:extLst>
              <a:ext uri="{FF2B5EF4-FFF2-40B4-BE49-F238E27FC236}">
                <a16:creationId xmlns:a16="http://schemas.microsoft.com/office/drawing/2014/main" id="{477D94D6-8847-1340-BECF-95006B88BB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C7DEF0-D404-3C45-A592-9BFC70C08A37}"/>
              </a:ext>
            </a:extLst>
          </p:cNvPr>
          <p:cNvSpPr>
            <a:spLocks noGrp="1"/>
          </p:cNvSpPr>
          <p:nvPr>
            <p:ph type="sldNum" sz="quarter" idx="12"/>
          </p:nvPr>
        </p:nvSpPr>
        <p:spPr/>
        <p:txBody>
          <a:bodyPr/>
          <a:lstStyle/>
          <a:p>
            <a:fld id="{7DCA3B56-ECA4-F246-9394-58426C04E9F5}" type="slidenum">
              <a:rPr lang="en-US" smtClean="0"/>
              <a:pPr/>
              <a:t>‹#›</a:t>
            </a:fld>
            <a:endParaRPr lang="en-US"/>
          </a:p>
        </p:txBody>
      </p:sp>
      <p:cxnSp>
        <p:nvCxnSpPr>
          <p:cNvPr id="10" name="Straight Connector 9">
            <a:extLst>
              <a:ext uri="{FF2B5EF4-FFF2-40B4-BE49-F238E27FC236}">
                <a16:creationId xmlns:a16="http://schemas.microsoft.com/office/drawing/2014/main" id="{14CCF8E5-BCB7-3743-BFF2-24F9E6F08237}"/>
              </a:ext>
            </a:extLst>
          </p:cNvPr>
          <p:cNvCxnSpPr/>
          <p:nvPr userDrawn="1"/>
        </p:nvCxnSpPr>
        <p:spPr>
          <a:xfrm>
            <a:off x="1051820" y="730975"/>
            <a:ext cx="94311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0B0E9315-9A3F-BD4C-B9B2-BAFDF7F9ECCC}"/>
              </a:ext>
            </a:extLst>
          </p:cNvPr>
          <p:cNvSpPr>
            <a:spLocks noGrp="1"/>
          </p:cNvSpPr>
          <p:nvPr>
            <p:ph idx="13"/>
          </p:nvPr>
        </p:nvSpPr>
        <p:spPr>
          <a:xfrm>
            <a:off x="6284686" y="1825625"/>
            <a:ext cx="498203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5">
            <a:extLst>
              <a:ext uri="{FF2B5EF4-FFF2-40B4-BE49-F238E27FC236}">
                <a16:creationId xmlns:a16="http://schemas.microsoft.com/office/drawing/2014/main" id="{967E37B2-B4BB-2347-CE29-0D12C16075C4}"/>
              </a:ext>
            </a:extLst>
          </p:cNvPr>
          <p:cNvGrpSpPr>
            <a:grpSpLocks noChangeAspect="1"/>
          </p:cNvGrpSpPr>
          <p:nvPr userDrawn="1"/>
        </p:nvGrpSpPr>
        <p:grpSpPr bwMode="auto">
          <a:xfrm>
            <a:off x="9813374" y="363292"/>
            <a:ext cx="1824584" cy="352800"/>
            <a:chOff x="663" y="462"/>
            <a:chExt cx="1536" cy="297"/>
          </a:xfrm>
        </p:grpSpPr>
        <p:sp>
          <p:nvSpPr>
            <p:cNvPr id="8" name="Freeform 6">
              <a:extLst>
                <a:ext uri="{FF2B5EF4-FFF2-40B4-BE49-F238E27FC236}">
                  <a16:creationId xmlns:a16="http://schemas.microsoft.com/office/drawing/2014/main" id="{F4E9E3F2-C386-8AF2-9446-71074339A6E3}"/>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7">
              <a:extLst>
                <a:ext uri="{FF2B5EF4-FFF2-40B4-BE49-F238E27FC236}">
                  <a16:creationId xmlns:a16="http://schemas.microsoft.com/office/drawing/2014/main" id="{6FFC379A-921D-36AC-9C79-EFB42FB22B5C}"/>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8">
              <a:extLst>
                <a:ext uri="{FF2B5EF4-FFF2-40B4-BE49-F238E27FC236}">
                  <a16:creationId xmlns:a16="http://schemas.microsoft.com/office/drawing/2014/main" id="{D52C5703-39BD-2670-0809-39EACF02097A}"/>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F6EAA833-3376-3C41-CACB-228DF85AD330}"/>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0">
              <a:extLst>
                <a:ext uri="{FF2B5EF4-FFF2-40B4-BE49-F238E27FC236}">
                  <a16:creationId xmlns:a16="http://schemas.microsoft.com/office/drawing/2014/main" id="{F9F1C4EE-EACC-5272-85F4-E0A432067FA5}"/>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1">
              <a:extLst>
                <a:ext uri="{FF2B5EF4-FFF2-40B4-BE49-F238E27FC236}">
                  <a16:creationId xmlns:a16="http://schemas.microsoft.com/office/drawing/2014/main" id="{1BD9B19C-9364-A478-B690-8ADB8EA8FD63}"/>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a:extLst>
                <a:ext uri="{FF2B5EF4-FFF2-40B4-BE49-F238E27FC236}">
                  <a16:creationId xmlns:a16="http://schemas.microsoft.com/office/drawing/2014/main" id="{EA004A75-BD3E-2321-CFC3-F625C79BC278}"/>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a:extLst>
                <a:ext uri="{FF2B5EF4-FFF2-40B4-BE49-F238E27FC236}">
                  <a16:creationId xmlns:a16="http://schemas.microsoft.com/office/drawing/2014/main" id="{F328C217-9505-CF20-F20F-1636A988DC68}"/>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4A435056-3AFE-FA1B-2FC7-F0C1120D8307}"/>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a:extLst>
                <a:ext uri="{FF2B5EF4-FFF2-40B4-BE49-F238E27FC236}">
                  <a16:creationId xmlns:a16="http://schemas.microsoft.com/office/drawing/2014/main" id="{2E328848-1596-C48D-53CD-AC07609E09E1}"/>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6">
              <a:extLst>
                <a:ext uri="{FF2B5EF4-FFF2-40B4-BE49-F238E27FC236}">
                  <a16:creationId xmlns:a16="http://schemas.microsoft.com/office/drawing/2014/main" id="{8FBE7F79-B032-5558-1E3C-1D0EA0885D3D}"/>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7">
              <a:extLst>
                <a:ext uri="{FF2B5EF4-FFF2-40B4-BE49-F238E27FC236}">
                  <a16:creationId xmlns:a16="http://schemas.microsoft.com/office/drawing/2014/main" id="{FDB68438-B639-0266-EA14-B209380C4BF7}"/>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51632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Bar">
    <p:spTree>
      <p:nvGrpSpPr>
        <p:cNvPr id="1" name=""/>
        <p:cNvGrpSpPr/>
        <p:nvPr/>
      </p:nvGrpSpPr>
      <p:grpSpPr>
        <a:xfrm>
          <a:off x="0" y="0"/>
          <a:ext cx="0" cy="0"/>
          <a:chOff x="0" y="0"/>
          <a:chExt cx="0" cy="0"/>
        </a:xfrm>
      </p:grpSpPr>
      <p:sp>
        <p:nvSpPr>
          <p:cNvPr id="2" name="Rectangle 1"/>
          <p:cNvSpPr/>
          <p:nvPr userDrawn="1"/>
        </p:nvSpPr>
        <p:spPr>
          <a:xfrm>
            <a:off x="0" y="0"/>
            <a:ext cx="12192000" cy="228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p>
        </p:txBody>
      </p:sp>
      <p:sp>
        <p:nvSpPr>
          <p:cNvPr id="5" name="Rectangle 4">
            <a:extLst>
              <a:ext uri="{FF2B5EF4-FFF2-40B4-BE49-F238E27FC236}">
                <a16:creationId xmlns:a16="http://schemas.microsoft.com/office/drawing/2014/main" id="{1A5C0783-18D0-0349-AB71-670B289DCBD0}"/>
              </a:ext>
            </a:extLst>
          </p:cNvPr>
          <p:cNvSpPr/>
          <p:nvPr userDrawn="1"/>
        </p:nvSpPr>
        <p:spPr>
          <a:xfrm>
            <a:off x="0" y="2286000"/>
            <a:ext cx="12192000"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p>
        </p:txBody>
      </p:sp>
      <p:sp>
        <p:nvSpPr>
          <p:cNvPr id="6" name="Date Placeholder 3">
            <a:extLst>
              <a:ext uri="{FF2B5EF4-FFF2-40B4-BE49-F238E27FC236}">
                <a16:creationId xmlns:a16="http://schemas.microsoft.com/office/drawing/2014/main" id="{3C069062-4F71-0944-826C-6E856E4FBDFE}"/>
              </a:ext>
            </a:extLst>
          </p:cNvPr>
          <p:cNvSpPr>
            <a:spLocks noGrp="1"/>
          </p:cNvSpPr>
          <p:nvPr>
            <p:ph type="dt" sz="half" idx="10"/>
          </p:nvPr>
        </p:nvSpPr>
        <p:spPr>
          <a:xfrm>
            <a:off x="838200" y="6356350"/>
            <a:ext cx="2743200" cy="365125"/>
          </a:xfrm>
        </p:spPr>
        <p:txBody>
          <a:bodyPr/>
          <a:lstStyle/>
          <a:p>
            <a:fld id="{F61A5D67-BB6E-4751-AE5D-7163474B0104}" type="datetime1">
              <a:rPr lang="cs-CZ" smtClean="0"/>
              <a:t>16.05.2023</a:t>
            </a:fld>
            <a:endParaRPr lang="en-US"/>
          </a:p>
        </p:txBody>
      </p:sp>
      <p:sp>
        <p:nvSpPr>
          <p:cNvPr id="7" name="Footer Placeholder 4">
            <a:extLst>
              <a:ext uri="{FF2B5EF4-FFF2-40B4-BE49-F238E27FC236}">
                <a16:creationId xmlns:a16="http://schemas.microsoft.com/office/drawing/2014/main" id="{449805C7-FCDD-7548-8E48-2AB7AFF3971E}"/>
              </a:ext>
            </a:extLst>
          </p:cNvPr>
          <p:cNvSpPr>
            <a:spLocks noGrp="1"/>
          </p:cNvSpPr>
          <p:nvPr>
            <p:ph type="ftr" sz="quarter" idx="11"/>
          </p:nvPr>
        </p:nvSpPr>
        <p:spPr>
          <a:xfrm>
            <a:off x="4038600" y="6356350"/>
            <a:ext cx="4114800" cy="365125"/>
          </a:xfrm>
        </p:spPr>
        <p:txBody>
          <a:bodyPr/>
          <a:lstStyle/>
          <a:p>
            <a:endParaRPr lang="en-US"/>
          </a:p>
        </p:txBody>
      </p:sp>
      <p:sp>
        <p:nvSpPr>
          <p:cNvPr id="8" name="Slide Number Placeholder 5">
            <a:extLst>
              <a:ext uri="{FF2B5EF4-FFF2-40B4-BE49-F238E27FC236}">
                <a16:creationId xmlns:a16="http://schemas.microsoft.com/office/drawing/2014/main" id="{DD81746B-23B1-6D45-BAF7-8D61830D17B3}"/>
              </a:ext>
            </a:extLst>
          </p:cNvPr>
          <p:cNvSpPr>
            <a:spLocks noGrp="1"/>
          </p:cNvSpPr>
          <p:nvPr>
            <p:ph type="sldNum" sz="quarter" idx="12"/>
          </p:nvPr>
        </p:nvSpPr>
        <p:spPr>
          <a:xfrm>
            <a:off x="8610600" y="6356350"/>
            <a:ext cx="2743200" cy="365125"/>
          </a:xfrm>
        </p:spPr>
        <p:txBody>
          <a:bodyPr/>
          <a:lstStyle/>
          <a:p>
            <a:fld id="{7DCA3B56-ECA4-F246-9394-58426C04E9F5}" type="slidenum">
              <a:rPr lang="en-US" smtClean="0"/>
              <a:pPr/>
              <a:t>‹#›</a:t>
            </a:fld>
            <a:endParaRPr lang="en-US"/>
          </a:p>
        </p:txBody>
      </p:sp>
      <p:grpSp>
        <p:nvGrpSpPr>
          <p:cNvPr id="21" name="Group 5">
            <a:extLst>
              <a:ext uri="{FF2B5EF4-FFF2-40B4-BE49-F238E27FC236}">
                <a16:creationId xmlns:a16="http://schemas.microsoft.com/office/drawing/2014/main" id="{09C568D0-17A9-9DB6-2BD4-62E3AFADEC01}"/>
              </a:ext>
            </a:extLst>
          </p:cNvPr>
          <p:cNvGrpSpPr>
            <a:grpSpLocks noChangeAspect="1"/>
          </p:cNvGrpSpPr>
          <p:nvPr userDrawn="1"/>
        </p:nvGrpSpPr>
        <p:grpSpPr bwMode="auto">
          <a:xfrm>
            <a:off x="9813374" y="363292"/>
            <a:ext cx="1824584" cy="352800"/>
            <a:chOff x="663" y="462"/>
            <a:chExt cx="1536" cy="297"/>
          </a:xfrm>
        </p:grpSpPr>
        <p:sp>
          <p:nvSpPr>
            <p:cNvPr id="22" name="Freeform 6">
              <a:extLst>
                <a:ext uri="{FF2B5EF4-FFF2-40B4-BE49-F238E27FC236}">
                  <a16:creationId xmlns:a16="http://schemas.microsoft.com/office/drawing/2014/main" id="{F7F6877E-B8F8-EFB4-3BC8-3D774C3F4513}"/>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7">
              <a:extLst>
                <a:ext uri="{FF2B5EF4-FFF2-40B4-BE49-F238E27FC236}">
                  <a16:creationId xmlns:a16="http://schemas.microsoft.com/office/drawing/2014/main" id="{35C8F661-A0FE-178F-8D32-E1D2E0937597}"/>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8">
              <a:extLst>
                <a:ext uri="{FF2B5EF4-FFF2-40B4-BE49-F238E27FC236}">
                  <a16:creationId xmlns:a16="http://schemas.microsoft.com/office/drawing/2014/main" id="{05C2E717-CA1D-7D84-AA8E-6D9A6EAF9EE6}"/>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9">
              <a:extLst>
                <a:ext uri="{FF2B5EF4-FFF2-40B4-BE49-F238E27FC236}">
                  <a16:creationId xmlns:a16="http://schemas.microsoft.com/office/drawing/2014/main" id="{4F41084D-004C-11AC-A06F-9862C4DC2C7F}"/>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0">
              <a:extLst>
                <a:ext uri="{FF2B5EF4-FFF2-40B4-BE49-F238E27FC236}">
                  <a16:creationId xmlns:a16="http://schemas.microsoft.com/office/drawing/2014/main" id="{2853F468-EF17-EC66-31CD-A697DBB5E00F}"/>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1">
              <a:extLst>
                <a:ext uri="{FF2B5EF4-FFF2-40B4-BE49-F238E27FC236}">
                  <a16:creationId xmlns:a16="http://schemas.microsoft.com/office/drawing/2014/main" id="{802A7738-83AB-CB4E-72B9-687C772FFE68}"/>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80CA4E40-AB6B-C1F0-21D0-9DA82BD5C671}"/>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27E81DC6-5647-836F-5C65-6D7EAF241082}"/>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2D9BE1FC-EE5B-F051-EA8D-DD05C2D85858}"/>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645D7EF4-527A-E668-22BA-2F958FE7CF45}"/>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6">
              <a:extLst>
                <a:ext uri="{FF2B5EF4-FFF2-40B4-BE49-F238E27FC236}">
                  <a16:creationId xmlns:a16="http://schemas.microsoft.com/office/drawing/2014/main" id="{CD46BBA1-AAC8-016C-DAEB-D84D732079C4}"/>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7">
              <a:extLst>
                <a:ext uri="{FF2B5EF4-FFF2-40B4-BE49-F238E27FC236}">
                  <a16:creationId xmlns:a16="http://schemas.microsoft.com/office/drawing/2014/main" id="{5B703C27-31B8-B44A-DF37-95029DE71AF9}"/>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970821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hite - Standard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EF02B22-4D38-294A-8E24-C8E34B8A745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p>
        </p:txBody>
      </p:sp>
      <p:sp>
        <p:nvSpPr>
          <p:cNvPr id="4" name="Date Placeholder 3">
            <a:extLst>
              <a:ext uri="{FF2B5EF4-FFF2-40B4-BE49-F238E27FC236}">
                <a16:creationId xmlns:a16="http://schemas.microsoft.com/office/drawing/2014/main" id="{D5E36459-6500-F74A-A031-3A47510D72DA}"/>
              </a:ext>
            </a:extLst>
          </p:cNvPr>
          <p:cNvSpPr>
            <a:spLocks noGrp="1"/>
          </p:cNvSpPr>
          <p:nvPr>
            <p:ph type="dt" sz="half" idx="10"/>
          </p:nvPr>
        </p:nvSpPr>
        <p:spPr/>
        <p:txBody>
          <a:bodyPr/>
          <a:lstStyle/>
          <a:p>
            <a:fld id="{2E93495B-D58A-49B5-8DD2-5A49075CC8E6}" type="datetime1">
              <a:rPr lang="cs-CZ" smtClean="0"/>
              <a:t>16.05.2023</a:t>
            </a:fld>
            <a:endParaRPr lang="en-US"/>
          </a:p>
        </p:txBody>
      </p:sp>
      <p:sp>
        <p:nvSpPr>
          <p:cNvPr id="5" name="Footer Placeholder 4">
            <a:extLst>
              <a:ext uri="{FF2B5EF4-FFF2-40B4-BE49-F238E27FC236}">
                <a16:creationId xmlns:a16="http://schemas.microsoft.com/office/drawing/2014/main" id="{54B747A9-2438-954B-B26D-E4257248C1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50D4EC-D5FA-934A-97A0-7995AB9701DB}"/>
              </a:ext>
            </a:extLst>
          </p:cNvPr>
          <p:cNvSpPr>
            <a:spLocks noGrp="1"/>
          </p:cNvSpPr>
          <p:nvPr>
            <p:ph type="sldNum" sz="quarter" idx="12"/>
          </p:nvPr>
        </p:nvSpPr>
        <p:spPr/>
        <p:txBody>
          <a:bodyPr/>
          <a:lstStyle/>
          <a:p>
            <a:fld id="{7DCA3B56-ECA4-F246-9394-58426C04E9F5}" type="slidenum">
              <a:rPr lang="en-US" smtClean="0"/>
              <a:pPr/>
              <a:t>‹#›</a:t>
            </a:fld>
            <a:endParaRPr lang="en-US"/>
          </a:p>
        </p:txBody>
      </p:sp>
      <p:sp>
        <p:nvSpPr>
          <p:cNvPr id="9" name="Title 1">
            <a:extLst>
              <a:ext uri="{FF2B5EF4-FFF2-40B4-BE49-F238E27FC236}">
                <a16:creationId xmlns:a16="http://schemas.microsoft.com/office/drawing/2014/main" id="{1F57ABE5-AF3B-EF4F-BB11-B79EA884303D}"/>
              </a:ext>
            </a:extLst>
          </p:cNvPr>
          <p:cNvSpPr>
            <a:spLocks noGrp="1"/>
          </p:cNvSpPr>
          <p:nvPr>
            <p:ph type="title"/>
          </p:nvPr>
        </p:nvSpPr>
        <p:spPr>
          <a:xfrm>
            <a:off x="925284" y="553807"/>
            <a:ext cx="10515600" cy="1325563"/>
          </a:xfrm>
          <a:prstGeom prst="rect">
            <a:avLst/>
          </a:prstGeom>
        </p:spPr>
        <p:txBody>
          <a:bodyPr/>
          <a:lstStyle>
            <a:lvl1pPr>
              <a:defRPr baseline="0">
                <a:solidFill>
                  <a:schemeClr val="accent1"/>
                </a:solidFill>
              </a:defRPr>
            </a:lvl1pPr>
          </a:lstStyle>
          <a:p>
            <a:r>
              <a:rPr lang="en-US"/>
              <a:t>Click to edit Master title style</a:t>
            </a:r>
            <a:endParaRPr lang="en-US" dirty="0"/>
          </a:p>
        </p:txBody>
      </p:sp>
      <p:sp>
        <p:nvSpPr>
          <p:cNvPr id="10" name="Content Placeholder 2">
            <a:extLst>
              <a:ext uri="{FF2B5EF4-FFF2-40B4-BE49-F238E27FC236}">
                <a16:creationId xmlns:a16="http://schemas.microsoft.com/office/drawing/2014/main" id="{D1DB7C6F-7F97-0B43-9321-8B71A45E36C2}"/>
              </a:ext>
            </a:extLst>
          </p:cNvPr>
          <p:cNvSpPr>
            <a:spLocks noGrp="1"/>
          </p:cNvSpPr>
          <p:nvPr>
            <p:ph idx="1"/>
          </p:nvPr>
        </p:nvSpPr>
        <p:spPr>
          <a:xfrm>
            <a:off x="925284" y="1825625"/>
            <a:ext cx="10428516" cy="4351338"/>
          </a:xfrm>
          <a:prstGeom prst="rect">
            <a:avLst/>
          </a:prstGeo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1916DFFC-4F22-D043-9E29-352B0592A660}"/>
              </a:ext>
            </a:extLst>
          </p:cNvPr>
          <p:cNvCxnSpPr/>
          <p:nvPr userDrawn="1"/>
        </p:nvCxnSpPr>
        <p:spPr>
          <a:xfrm>
            <a:off x="1051820" y="730975"/>
            <a:ext cx="94311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6" name="Group 5">
            <a:extLst>
              <a:ext uri="{FF2B5EF4-FFF2-40B4-BE49-F238E27FC236}">
                <a16:creationId xmlns:a16="http://schemas.microsoft.com/office/drawing/2014/main" id="{CE09948D-D5C5-8E1B-6934-CF349F0E5032}"/>
              </a:ext>
            </a:extLst>
          </p:cNvPr>
          <p:cNvGrpSpPr>
            <a:grpSpLocks noChangeAspect="1"/>
          </p:cNvGrpSpPr>
          <p:nvPr userDrawn="1"/>
        </p:nvGrpSpPr>
        <p:grpSpPr bwMode="auto">
          <a:xfrm>
            <a:off x="9813374" y="363292"/>
            <a:ext cx="1824584" cy="352800"/>
            <a:chOff x="663" y="462"/>
            <a:chExt cx="1536" cy="297"/>
          </a:xfrm>
        </p:grpSpPr>
        <p:sp>
          <p:nvSpPr>
            <p:cNvPr id="37" name="Freeform 6">
              <a:extLst>
                <a:ext uri="{FF2B5EF4-FFF2-40B4-BE49-F238E27FC236}">
                  <a16:creationId xmlns:a16="http://schemas.microsoft.com/office/drawing/2014/main" id="{80E3C0D4-5090-C752-D6D9-AD0D949BDCE9}"/>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7">
              <a:extLst>
                <a:ext uri="{FF2B5EF4-FFF2-40B4-BE49-F238E27FC236}">
                  <a16:creationId xmlns:a16="http://schemas.microsoft.com/office/drawing/2014/main" id="{2D7BE49F-540B-D14B-8595-46C91B77E0AD}"/>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8">
              <a:extLst>
                <a:ext uri="{FF2B5EF4-FFF2-40B4-BE49-F238E27FC236}">
                  <a16:creationId xmlns:a16="http://schemas.microsoft.com/office/drawing/2014/main" id="{5797FB85-ACE3-66BE-5502-58123162E4AC}"/>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9">
              <a:extLst>
                <a:ext uri="{FF2B5EF4-FFF2-40B4-BE49-F238E27FC236}">
                  <a16:creationId xmlns:a16="http://schemas.microsoft.com/office/drawing/2014/main" id="{7501B7E9-5BD2-16E1-79BF-7AD4941CA667}"/>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0">
              <a:extLst>
                <a:ext uri="{FF2B5EF4-FFF2-40B4-BE49-F238E27FC236}">
                  <a16:creationId xmlns:a16="http://schemas.microsoft.com/office/drawing/2014/main" id="{1A1D7C87-3D40-7128-3AD9-0D76FF6F8843}"/>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11">
              <a:extLst>
                <a:ext uri="{FF2B5EF4-FFF2-40B4-BE49-F238E27FC236}">
                  <a16:creationId xmlns:a16="http://schemas.microsoft.com/office/drawing/2014/main" id="{53A6D6C6-522C-3941-3C1F-341EAE30785B}"/>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2">
              <a:extLst>
                <a:ext uri="{FF2B5EF4-FFF2-40B4-BE49-F238E27FC236}">
                  <a16:creationId xmlns:a16="http://schemas.microsoft.com/office/drawing/2014/main" id="{DC1D74B5-293E-961B-FF0C-8DF4555F4A0A}"/>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3">
              <a:extLst>
                <a:ext uri="{FF2B5EF4-FFF2-40B4-BE49-F238E27FC236}">
                  <a16:creationId xmlns:a16="http://schemas.microsoft.com/office/drawing/2014/main" id="{2E199AA0-E676-D770-DC8A-69B23249BAB5}"/>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4">
              <a:extLst>
                <a:ext uri="{FF2B5EF4-FFF2-40B4-BE49-F238E27FC236}">
                  <a16:creationId xmlns:a16="http://schemas.microsoft.com/office/drawing/2014/main" id="{4F095F4B-8B79-46E4-94B8-879BE4CE9155}"/>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5">
              <a:extLst>
                <a:ext uri="{FF2B5EF4-FFF2-40B4-BE49-F238E27FC236}">
                  <a16:creationId xmlns:a16="http://schemas.microsoft.com/office/drawing/2014/main" id="{7E65DD85-3166-2B02-AA79-281287B40F50}"/>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6">
              <a:extLst>
                <a:ext uri="{FF2B5EF4-FFF2-40B4-BE49-F238E27FC236}">
                  <a16:creationId xmlns:a16="http://schemas.microsoft.com/office/drawing/2014/main" id="{56AA4EE4-6D55-E8A9-1355-836275A8DE95}"/>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7">
              <a:extLst>
                <a:ext uri="{FF2B5EF4-FFF2-40B4-BE49-F238E27FC236}">
                  <a16:creationId xmlns:a16="http://schemas.microsoft.com/office/drawing/2014/main" id="{50E33028-FCD4-BA83-56E1-8FAD64BBDB5D}"/>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21613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White - 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219B52B-89C0-9749-9A91-96441FB38444}"/>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p>
        </p:txBody>
      </p:sp>
      <p:sp>
        <p:nvSpPr>
          <p:cNvPr id="2" name="Title 1">
            <a:extLst>
              <a:ext uri="{FF2B5EF4-FFF2-40B4-BE49-F238E27FC236}">
                <a16:creationId xmlns:a16="http://schemas.microsoft.com/office/drawing/2014/main" id="{741ACC69-DA2A-8840-971A-1F680F22BD79}"/>
              </a:ext>
            </a:extLst>
          </p:cNvPr>
          <p:cNvSpPr>
            <a:spLocks noGrp="1"/>
          </p:cNvSpPr>
          <p:nvPr>
            <p:ph type="title"/>
          </p:nvPr>
        </p:nvSpPr>
        <p:spPr>
          <a:xfrm>
            <a:off x="925284" y="553807"/>
            <a:ext cx="10515600" cy="1325563"/>
          </a:xfrm>
          <a:prstGeom prst="rect">
            <a:avLst/>
          </a:prstGeom>
        </p:spPr>
        <p:txBody>
          <a:bodyPr/>
          <a:lstStyle>
            <a:lvl1pPr>
              <a:defRPr baseline="0">
                <a:solidFill>
                  <a:schemeClr val="accent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BC23172-C1A0-DC48-B902-8F7AAF045756}"/>
              </a:ext>
            </a:extLst>
          </p:cNvPr>
          <p:cNvSpPr>
            <a:spLocks noGrp="1"/>
          </p:cNvSpPr>
          <p:nvPr>
            <p:ph idx="1"/>
          </p:nvPr>
        </p:nvSpPr>
        <p:spPr>
          <a:xfrm>
            <a:off x="925284" y="1825625"/>
            <a:ext cx="4982030" cy="4351338"/>
          </a:xfrm>
          <a:prstGeom prst="rect">
            <a:avLst/>
          </a:prstGeo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A0FFE13-7953-BA4A-B4C4-38A81D2C52F6}"/>
              </a:ext>
            </a:extLst>
          </p:cNvPr>
          <p:cNvSpPr>
            <a:spLocks noGrp="1"/>
          </p:cNvSpPr>
          <p:nvPr>
            <p:ph type="dt" sz="half" idx="10"/>
          </p:nvPr>
        </p:nvSpPr>
        <p:spPr/>
        <p:txBody>
          <a:bodyPr/>
          <a:lstStyle/>
          <a:p>
            <a:fld id="{DA7DB4DD-7AB5-48D4-A033-7998731047F0}" type="datetime1">
              <a:rPr lang="cs-CZ" smtClean="0"/>
              <a:t>16.05.2023</a:t>
            </a:fld>
            <a:endParaRPr lang="en-US"/>
          </a:p>
        </p:txBody>
      </p:sp>
      <p:sp>
        <p:nvSpPr>
          <p:cNvPr id="5" name="Footer Placeholder 4">
            <a:extLst>
              <a:ext uri="{FF2B5EF4-FFF2-40B4-BE49-F238E27FC236}">
                <a16:creationId xmlns:a16="http://schemas.microsoft.com/office/drawing/2014/main" id="{477D94D6-8847-1340-BECF-95006B88BB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C7DEF0-D404-3C45-A592-9BFC70C08A37}"/>
              </a:ext>
            </a:extLst>
          </p:cNvPr>
          <p:cNvSpPr>
            <a:spLocks noGrp="1"/>
          </p:cNvSpPr>
          <p:nvPr>
            <p:ph type="sldNum" sz="quarter" idx="12"/>
          </p:nvPr>
        </p:nvSpPr>
        <p:spPr/>
        <p:txBody>
          <a:bodyPr/>
          <a:lstStyle/>
          <a:p>
            <a:fld id="{7DCA3B56-ECA4-F246-9394-58426C04E9F5}" type="slidenum">
              <a:rPr lang="en-US" smtClean="0"/>
              <a:pPr/>
              <a:t>‹#›</a:t>
            </a:fld>
            <a:endParaRPr lang="en-US"/>
          </a:p>
        </p:txBody>
      </p:sp>
      <p:cxnSp>
        <p:nvCxnSpPr>
          <p:cNvPr id="10" name="Straight Connector 9">
            <a:extLst>
              <a:ext uri="{FF2B5EF4-FFF2-40B4-BE49-F238E27FC236}">
                <a16:creationId xmlns:a16="http://schemas.microsoft.com/office/drawing/2014/main" id="{14CCF8E5-BCB7-3743-BFF2-24F9E6F08237}"/>
              </a:ext>
            </a:extLst>
          </p:cNvPr>
          <p:cNvCxnSpPr/>
          <p:nvPr userDrawn="1"/>
        </p:nvCxnSpPr>
        <p:spPr>
          <a:xfrm>
            <a:off x="1051820" y="730975"/>
            <a:ext cx="94311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0B0E9315-9A3F-BD4C-B9B2-BAFDF7F9ECCC}"/>
              </a:ext>
            </a:extLst>
          </p:cNvPr>
          <p:cNvSpPr>
            <a:spLocks noGrp="1"/>
          </p:cNvSpPr>
          <p:nvPr>
            <p:ph idx="13"/>
          </p:nvPr>
        </p:nvSpPr>
        <p:spPr>
          <a:xfrm>
            <a:off x="6284686" y="1825625"/>
            <a:ext cx="4982030" cy="4351338"/>
          </a:xfrm>
          <a:prstGeom prst="rect">
            <a:avLst/>
          </a:prstGeom>
        </p:spPr>
        <p:txBody>
          <a:bodyPr/>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5">
            <a:extLst>
              <a:ext uri="{FF2B5EF4-FFF2-40B4-BE49-F238E27FC236}">
                <a16:creationId xmlns:a16="http://schemas.microsoft.com/office/drawing/2014/main" id="{C87103EB-55FA-9EDD-E4EC-555B036C03C8}"/>
              </a:ext>
            </a:extLst>
          </p:cNvPr>
          <p:cNvGrpSpPr>
            <a:grpSpLocks noChangeAspect="1"/>
          </p:cNvGrpSpPr>
          <p:nvPr userDrawn="1"/>
        </p:nvGrpSpPr>
        <p:grpSpPr bwMode="auto">
          <a:xfrm>
            <a:off x="9813374" y="363292"/>
            <a:ext cx="1824584" cy="352800"/>
            <a:chOff x="663" y="462"/>
            <a:chExt cx="1536" cy="297"/>
          </a:xfrm>
        </p:grpSpPr>
        <p:sp>
          <p:nvSpPr>
            <p:cNvPr id="12" name="Freeform 6">
              <a:extLst>
                <a:ext uri="{FF2B5EF4-FFF2-40B4-BE49-F238E27FC236}">
                  <a16:creationId xmlns:a16="http://schemas.microsoft.com/office/drawing/2014/main" id="{07637DD8-1082-44DE-C74D-C7D85D2E3C4C}"/>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7">
              <a:extLst>
                <a:ext uri="{FF2B5EF4-FFF2-40B4-BE49-F238E27FC236}">
                  <a16:creationId xmlns:a16="http://schemas.microsoft.com/office/drawing/2014/main" id="{ECE83DE4-6103-B751-FAA6-5CE6CAD0A6E7}"/>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8">
              <a:extLst>
                <a:ext uri="{FF2B5EF4-FFF2-40B4-BE49-F238E27FC236}">
                  <a16:creationId xmlns:a16="http://schemas.microsoft.com/office/drawing/2014/main" id="{1A6FC7FE-9D5E-9BD4-A13F-231346C71BFB}"/>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9">
              <a:extLst>
                <a:ext uri="{FF2B5EF4-FFF2-40B4-BE49-F238E27FC236}">
                  <a16:creationId xmlns:a16="http://schemas.microsoft.com/office/drawing/2014/main" id="{90A33A0E-2AA8-92AB-DAFE-AAA4C37FD69E}"/>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0">
              <a:extLst>
                <a:ext uri="{FF2B5EF4-FFF2-40B4-BE49-F238E27FC236}">
                  <a16:creationId xmlns:a16="http://schemas.microsoft.com/office/drawing/2014/main" id="{563C966F-6A0A-A786-31F2-A4359390291A}"/>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1">
              <a:extLst>
                <a:ext uri="{FF2B5EF4-FFF2-40B4-BE49-F238E27FC236}">
                  <a16:creationId xmlns:a16="http://schemas.microsoft.com/office/drawing/2014/main" id="{E588EA60-1690-1852-D927-AA46A63CB2A1}"/>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a:extLst>
                <a:ext uri="{FF2B5EF4-FFF2-40B4-BE49-F238E27FC236}">
                  <a16:creationId xmlns:a16="http://schemas.microsoft.com/office/drawing/2014/main" id="{B7FB5530-39F3-2061-A45F-6B237A932621}"/>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3">
              <a:extLst>
                <a:ext uri="{FF2B5EF4-FFF2-40B4-BE49-F238E27FC236}">
                  <a16:creationId xmlns:a16="http://schemas.microsoft.com/office/drawing/2014/main" id="{7FB8896F-8CC2-F237-5227-B6689B74C8FB}"/>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a:extLst>
                <a:ext uri="{FF2B5EF4-FFF2-40B4-BE49-F238E27FC236}">
                  <a16:creationId xmlns:a16="http://schemas.microsoft.com/office/drawing/2014/main" id="{07947D1B-B657-24BF-E400-C718DD502CF4}"/>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5">
              <a:extLst>
                <a:ext uri="{FF2B5EF4-FFF2-40B4-BE49-F238E27FC236}">
                  <a16:creationId xmlns:a16="http://schemas.microsoft.com/office/drawing/2014/main" id="{52E89B62-AF48-0C5A-1F14-D4418F202C11}"/>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6">
              <a:extLst>
                <a:ext uri="{FF2B5EF4-FFF2-40B4-BE49-F238E27FC236}">
                  <a16:creationId xmlns:a16="http://schemas.microsoft.com/office/drawing/2014/main" id="{0BD13C4F-5FFA-7C1D-017B-8E2D492F8895}"/>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7">
              <a:extLst>
                <a:ext uri="{FF2B5EF4-FFF2-40B4-BE49-F238E27FC236}">
                  <a16:creationId xmlns:a16="http://schemas.microsoft.com/office/drawing/2014/main" id="{EF5E57A4-94FA-D15F-D708-D083FE0F70A2}"/>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843189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Teal with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071B4D-05CF-8744-B3E4-AD937A363CF5}"/>
              </a:ext>
            </a:extLst>
          </p:cNvPr>
          <p:cNvSpPr>
            <a:spLocks noGrp="1"/>
          </p:cNvSpPr>
          <p:nvPr>
            <p:ph type="dt" sz="half" idx="10"/>
          </p:nvPr>
        </p:nvSpPr>
        <p:spPr/>
        <p:txBody>
          <a:bodyPr/>
          <a:lstStyle/>
          <a:p>
            <a:fld id="{09FDBBD0-3BC6-4795-A96A-8061B8B26C43}" type="datetime1">
              <a:rPr lang="cs-CZ" smtClean="0"/>
              <a:t>16.05.2023</a:t>
            </a:fld>
            <a:endParaRPr lang="en-US"/>
          </a:p>
        </p:txBody>
      </p:sp>
      <p:sp>
        <p:nvSpPr>
          <p:cNvPr id="3" name="Footer Placeholder 2">
            <a:extLst>
              <a:ext uri="{FF2B5EF4-FFF2-40B4-BE49-F238E27FC236}">
                <a16:creationId xmlns:a16="http://schemas.microsoft.com/office/drawing/2014/main" id="{01F04DF0-417E-9940-838B-373E254724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96E1335-9E89-6940-A650-7A2852AC9CBF}"/>
              </a:ext>
            </a:extLst>
          </p:cNvPr>
          <p:cNvSpPr>
            <a:spLocks noGrp="1"/>
          </p:cNvSpPr>
          <p:nvPr>
            <p:ph type="sldNum" sz="quarter" idx="12"/>
          </p:nvPr>
        </p:nvSpPr>
        <p:spPr/>
        <p:txBody>
          <a:bodyPr/>
          <a:lstStyle/>
          <a:p>
            <a:fld id="{7DCA3B56-ECA4-F246-9394-58426C04E9F5}" type="slidenum">
              <a:rPr lang="en-US" smtClean="0"/>
              <a:pPr/>
              <a:t>‹#›</a:t>
            </a:fld>
            <a:endParaRPr lang="en-US"/>
          </a:p>
        </p:txBody>
      </p:sp>
      <p:grpSp>
        <p:nvGrpSpPr>
          <p:cNvPr id="19" name="Group 5">
            <a:extLst>
              <a:ext uri="{FF2B5EF4-FFF2-40B4-BE49-F238E27FC236}">
                <a16:creationId xmlns:a16="http://schemas.microsoft.com/office/drawing/2014/main" id="{14143088-F2E3-4E54-16F1-9FA97B3F3B6D}"/>
              </a:ext>
            </a:extLst>
          </p:cNvPr>
          <p:cNvGrpSpPr>
            <a:grpSpLocks noChangeAspect="1"/>
          </p:cNvGrpSpPr>
          <p:nvPr userDrawn="1"/>
        </p:nvGrpSpPr>
        <p:grpSpPr bwMode="auto">
          <a:xfrm>
            <a:off x="9813374" y="363292"/>
            <a:ext cx="1824584" cy="352800"/>
            <a:chOff x="663" y="462"/>
            <a:chExt cx="1536" cy="297"/>
          </a:xfrm>
        </p:grpSpPr>
        <p:sp>
          <p:nvSpPr>
            <p:cNvPr id="20" name="Freeform 6">
              <a:extLst>
                <a:ext uri="{FF2B5EF4-FFF2-40B4-BE49-F238E27FC236}">
                  <a16:creationId xmlns:a16="http://schemas.microsoft.com/office/drawing/2014/main" id="{1C52F241-52A9-B43D-2543-CD5584F43B7C}"/>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7">
              <a:extLst>
                <a:ext uri="{FF2B5EF4-FFF2-40B4-BE49-F238E27FC236}">
                  <a16:creationId xmlns:a16="http://schemas.microsoft.com/office/drawing/2014/main" id="{1EDBD66A-A9B6-912D-1F03-79960B4CA969}"/>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8">
              <a:extLst>
                <a:ext uri="{FF2B5EF4-FFF2-40B4-BE49-F238E27FC236}">
                  <a16:creationId xmlns:a16="http://schemas.microsoft.com/office/drawing/2014/main" id="{417E3DF5-2147-DE48-A408-C07B4FD080C0}"/>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9">
              <a:extLst>
                <a:ext uri="{FF2B5EF4-FFF2-40B4-BE49-F238E27FC236}">
                  <a16:creationId xmlns:a16="http://schemas.microsoft.com/office/drawing/2014/main" id="{08CEF7AE-29E2-EEC4-7D78-ABB63039F706}"/>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0">
              <a:extLst>
                <a:ext uri="{FF2B5EF4-FFF2-40B4-BE49-F238E27FC236}">
                  <a16:creationId xmlns:a16="http://schemas.microsoft.com/office/drawing/2014/main" id="{C9D69682-6776-3E17-669F-5C13E2B04D94}"/>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1">
              <a:extLst>
                <a:ext uri="{FF2B5EF4-FFF2-40B4-BE49-F238E27FC236}">
                  <a16:creationId xmlns:a16="http://schemas.microsoft.com/office/drawing/2014/main" id="{770FE46D-8E0F-D804-31D9-0B8D083E65F1}"/>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id="{AFEAFE1D-91BD-8834-FE3B-842C06523F18}"/>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3">
              <a:extLst>
                <a:ext uri="{FF2B5EF4-FFF2-40B4-BE49-F238E27FC236}">
                  <a16:creationId xmlns:a16="http://schemas.microsoft.com/office/drawing/2014/main" id="{F232645A-A5F6-4B24-9889-91178710447D}"/>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4">
              <a:extLst>
                <a:ext uri="{FF2B5EF4-FFF2-40B4-BE49-F238E27FC236}">
                  <a16:creationId xmlns:a16="http://schemas.microsoft.com/office/drawing/2014/main" id="{3F5FC362-F0B0-FD8B-5BA8-64DE6F874EBD}"/>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5">
              <a:extLst>
                <a:ext uri="{FF2B5EF4-FFF2-40B4-BE49-F238E27FC236}">
                  <a16:creationId xmlns:a16="http://schemas.microsoft.com/office/drawing/2014/main" id="{23DCC792-3B99-53CF-35A6-7720C017AE19}"/>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6">
              <a:extLst>
                <a:ext uri="{FF2B5EF4-FFF2-40B4-BE49-F238E27FC236}">
                  <a16:creationId xmlns:a16="http://schemas.microsoft.com/office/drawing/2014/main" id="{BED88BE9-8891-31EF-C367-146A11421882}"/>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7">
              <a:extLst>
                <a:ext uri="{FF2B5EF4-FFF2-40B4-BE49-F238E27FC236}">
                  <a16:creationId xmlns:a16="http://schemas.microsoft.com/office/drawing/2014/main" id="{2BFF7BA9-C968-97F3-1B88-6270B3C7A77A}"/>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40432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with Log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F2531E-2543-FE44-9E3D-ECDC6E1E5B8C}"/>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a:p>
        </p:txBody>
      </p:sp>
      <p:sp>
        <p:nvSpPr>
          <p:cNvPr id="2" name="Date Placeholder 1">
            <a:extLst>
              <a:ext uri="{FF2B5EF4-FFF2-40B4-BE49-F238E27FC236}">
                <a16:creationId xmlns:a16="http://schemas.microsoft.com/office/drawing/2014/main" id="{35071B4D-05CF-8744-B3E4-AD937A363CF5}"/>
              </a:ext>
            </a:extLst>
          </p:cNvPr>
          <p:cNvSpPr>
            <a:spLocks noGrp="1"/>
          </p:cNvSpPr>
          <p:nvPr>
            <p:ph type="dt" sz="half" idx="10"/>
          </p:nvPr>
        </p:nvSpPr>
        <p:spPr/>
        <p:txBody>
          <a:bodyPr/>
          <a:lstStyle/>
          <a:p>
            <a:fld id="{21DBB236-7BBD-4312-9B35-31A7E3556B86}" type="datetime1">
              <a:rPr lang="cs-CZ" smtClean="0"/>
              <a:t>16.05.2023</a:t>
            </a:fld>
            <a:endParaRPr lang="en-US"/>
          </a:p>
        </p:txBody>
      </p:sp>
      <p:sp>
        <p:nvSpPr>
          <p:cNvPr id="3" name="Footer Placeholder 2">
            <a:extLst>
              <a:ext uri="{FF2B5EF4-FFF2-40B4-BE49-F238E27FC236}">
                <a16:creationId xmlns:a16="http://schemas.microsoft.com/office/drawing/2014/main" id="{01F04DF0-417E-9940-838B-373E254724A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96E1335-9E89-6940-A650-7A2852AC9CBF}"/>
              </a:ext>
            </a:extLst>
          </p:cNvPr>
          <p:cNvSpPr>
            <a:spLocks noGrp="1"/>
          </p:cNvSpPr>
          <p:nvPr>
            <p:ph type="sldNum" sz="quarter" idx="12"/>
          </p:nvPr>
        </p:nvSpPr>
        <p:spPr/>
        <p:txBody>
          <a:bodyPr/>
          <a:lstStyle/>
          <a:p>
            <a:fld id="{7DCA3B56-ECA4-F246-9394-58426C04E9F5}" type="slidenum">
              <a:rPr lang="en-US" smtClean="0"/>
              <a:pPr/>
              <a:t>‹#›</a:t>
            </a:fld>
            <a:endParaRPr lang="en-US"/>
          </a:p>
        </p:txBody>
      </p:sp>
      <p:grpSp>
        <p:nvGrpSpPr>
          <p:cNvPr id="6" name="Group 5">
            <a:extLst>
              <a:ext uri="{FF2B5EF4-FFF2-40B4-BE49-F238E27FC236}">
                <a16:creationId xmlns:a16="http://schemas.microsoft.com/office/drawing/2014/main" id="{5E439E20-0C67-75D0-628A-8818AFC92FCF}"/>
              </a:ext>
            </a:extLst>
          </p:cNvPr>
          <p:cNvGrpSpPr>
            <a:grpSpLocks noChangeAspect="1"/>
          </p:cNvGrpSpPr>
          <p:nvPr userDrawn="1"/>
        </p:nvGrpSpPr>
        <p:grpSpPr bwMode="auto">
          <a:xfrm>
            <a:off x="9813374" y="363292"/>
            <a:ext cx="1824584" cy="352800"/>
            <a:chOff x="663" y="462"/>
            <a:chExt cx="1536" cy="297"/>
          </a:xfrm>
        </p:grpSpPr>
        <p:sp>
          <p:nvSpPr>
            <p:cNvPr id="8" name="Freeform 6">
              <a:extLst>
                <a:ext uri="{FF2B5EF4-FFF2-40B4-BE49-F238E27FC236}">
                  <a16:creationId xmlns:a16="http://schemas.microsoft.com/office/drawing/2014/main" id="{5E41455A-659A-6ED7-4D49-1FF0FC1D1835}"/>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7">
              <a:extLst>
                <a:ext uri="{FF2B5EF4-FFF2-40B4-BE49-F238E27FC236}">
                  <a16:creationId xmlns:a16="http://schemas.microsoft.com/office/drawing/2014/main" id="{1F503F6E-8179-830D-E7A4-3DB7780902CF}"/>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8">
              <a:extLst>
                <a:ext uri="{FF2B5EF4-FFF2-40B4-BE49-F238E27FC236}">
                  <a16:creationId xmlns:a16="http://schemas.microsoft.com/office/drawing/2014/main" id="{DA324F6F-78D3-F604-80A1-EE0EA1CCAC75}"/>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9">
              <a:extLst>
                <a:ext uri="{FF2B5EF4-FFF2-40B4-BE49-F238E27FC236}">
                  <a16:creationId xmlns:a16="http://schemas.microsoft.com/office/drawing/2014/main" id="{FCAC806E-944B-1C21-5ECB-A11CE141C6A8}"/>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0">
              <a:extLst>
                <a:ext uri="{FF2B5EF4-FFF2-40B4-BE49-F238E27FC236}">
                  <a16:creationId xmlns:a16="http://schemas.microsoft.com/office/drawing/2014/main" id="{FD4EDB09-E574-6D38-12D3-58B6017B5B91}"/>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11">
              <a:extLst>
                <a:ext uri="{FF2B5EF4-FFF2-40B4-BE49-F238E27FC236}">
                  <a16:creationId xmlns:a16="http://schemas.microsoft.com/office/drawing/2014/main" id="{FE7C9A8B-0186-6B7E-70D1-F8C432FA809C}"/>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2">
              <a:extLst>
                <a:ext uri="{FF2B5EF4-FFF2-40B4-BE49-F238E27FC236}">
                  <a16:creationId xmlns:a16="http://schemas.microsoft.com/office/drawing/2014/main" id="{A3A818BE-A87D-19C5-BFC0-CECE053CB254}"/>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13">
              <a:extLst>
                <a:ext uri="{FF2B5EF4-FFF2-40B4-BE49-F238E27FC236}">
                  <a16:creationId xmlns:a16="http://schemas.microsoft.com/office/drawing/2014/main" id="{4E2EF82E-CF19-A80B-2C46-962B886FB21D}"/>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4">
              <a:extLst>
                <a:ext uri="{FF2B5EF4-FFF2-40B4-BE49-F238E27FC236}">
                  <a16:creationId xmlns:a16="http://schemas.microsoft.com/office/drawing/2014/main" id="{32B727B2-0A7C-65C4-8CBD-63CF7D70F97F}"/>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5">
              <a:extLst>
                <a:ext uri="{FF2B5EF4-FFF2-40B4-BE49-F238E27FC236}">
                  <a16:creationId xmlns:a16="http://schemas.microsoft.com/office/drawing/2014/main" id="{E1C85171-747E-11FC-CA41-67D19B27AC8D}"/>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6">
              <a:extLst>
                <a:ext uri="{FF2B5EF4-FFF2-40B4-BE49-F238E27FC236}">
                  <a16:creationId xmlns:a16="http://schemas.microsoft.com/office/drawing/2014/main" id="{EFC5FA7A-728F-B8DC-3382-935BD6E280E3}"/>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7">
              <a:extLst>
                <a:ext uri="{FF2B5EF4-FFF2-40B4-BE49-F238E27FC236}">
                  <a16:creationId xmlns:a16="http://schemas.microsoft.com/office/drawing/2014/main" id="{14A61731-AC7E-4DA2-7C36-03E9696B38FB}"/>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rgbClr val="1F535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18390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Only - White Bkgr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89E746-CA58-7241-B348-299A8B80945D}"/>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a:extLst>
              <a:ext uri="{FF2B5EF4-FFF2-40B4-BE49-F238E27FC236}">
                <a16:creationId xmlns:a16="http://schemas.microsoft.com/office/drawing/2014/main" id="{46C375A3-6754-A643-BE7D-1492105DD237}"/>
              </a:ext>
            </a:extLst>
          </p:cNvPr>
          <p:cNvSpPr>
            <a:spLocks noGrp="1"/>
          </p:cNvSpPr>
          <p:nvPr>
            <p:ph type="pic" sz="quarter" idx="10"/>
          </p:nvPr>
        </p:nvSpPr>
        <p:spPr>
          <a:xfrm>
            <a:off x="0" y="0"/>
            <a:ext cx="12192000" cy="6858000"/>
          </a:xfrm>
          <a:prstGeom prst="rect">
            <a:avLst/>
          </a:prstGeom>
        </p:spPr>
        <p:txBody>
          <a:bodyPr/>
          <a:lstStyle/>
          <a:p>
            <a:r>
              <a:rPr lang="en-US"/>
              <a:t>Click icon to add picture</a:t>
            </a:r>
            <a:endParaRPr lang="id-ID"/>
          </a:p>
        </p:txBody>
      </p:sp>
    </p:spTree>
    <p:extLst>
      <p:ext uri="{BB962C8B-B14F-4D97-AF65-F5344CB8AC3E}">
        <p14:creationId xmlns:p14="http://schemas.microsoft.com/office/powerpoint/2010/main" val="3895037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 Teal">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FF32D7-1D5C-9144-8C4D-CDCFE914D02C}"/>
              </a:ext>
            </a:extLst>
          </p:cNvPr>
          <p:cNvSpPr/>
          <p:nvPr userDrawn="1"/>
        </p:nvSpPr>
        <p:spPr>
          <a:xfrm>
            <a:off x="9595556" y="248356"/>
            <a:ext cx="2257777"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19716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4.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3.emf"/><Relationship Id="rId2" Type="http://schemas.openxmlformats.org/officeDocument/2006/relationships/slideLayout" Target="../slideLayouts/slideLayout17.xml"/><Relationship Id="rId16"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1.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F33515-0D52-DE4A-8DEC-EE5C7E123FE3}"/>
              </a:ext>
            </a:extLst>
          </p:cNvPr>
          <p:cNvSpPr>
            <a:spLocks noGrp="1"/>
          </p:cNvSpPr>
          <p:nvPr>
            <p:ph type="title"/>
          </p:nvPr>
        </p:nvSpPr>
        <p:spPr>
          <a:xfrm>
            <a:off x="957942" y="365125"/>
            <a:ext cx="10395858"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75EEAE7-999B-454D-A099-6A62C95216C6}"/>
              </a:ext>
            </a:extLst>
          </p:cNvPr>
          <p:cNvSpPr>
            <a:spLocks noGrp="1"/>
          </p:cNvSpPr>
          <p:nvPr>
            <p:ph type="body" idx="1"/>
          </p:nvPr>
        </p:nvSpPr>
        <p:spPr>
          <a:xfrm>
            <a:off x="957942" y="1825625"/>
            <a:ext cx="1039585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E4EA12-ED44-C241-BB32-611F1AB5CE4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1CA4CE-DFA2-4D95-A1F9-0BDBE5F8B8FD}" type="datetime1">
              <a:rPr lang="cs-CZ" smtClean="0"/>
              <a:t>16.05.2023</a:t>
            </a:fld>
            <a:endParaRPr lang="en-US"/>
          </a:p>
        </p:txBody>
      </p:sp>
      <p:sp>
        <p:nvSpPr>
          <p:cNvPr id="5" name="Footer Placeholder 4">
            <a:extLst>
              <a:ext uri="{FF2B5EF4-FFF2-40B4-BE49-F238E27FC236}">
                <a16:creationId xmlns:a16="http://schemas.microsoft.com/office/drawing/2014/main" id="{19790AB7-7E0B-C946-825C-51442F4C01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5358575-E8B4-944D-A323-71CA59F57E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CA3B56-ECA4-F246-9394-58426C04E9F5}" type="slidenum">
              <a:rPr lang="en-US" smtClean="0"/>
              <a:pPr/>
              <a:t>‹#›</a:t>
            </a:fld>
            <a:endParaRPr lang="en-US"/>
          </a:p>
        </p:txBody>
      </p:sp>
    </p:spTree>
    <p:extLst>
      <p:ext uri="{BB962C8B-B14F-4D97-AF65-F5344CB8AC3E}">
        <p14:creationId xmlns:p14="http://schemas.microsoft.com/office/powerpoint/2010/main" val="3276242647"/>
      </p:ext>
    </p:extLst>
  </p:cSld>
  <p:clrMap bg1="dk1" tx1="lt1" bg2="dk2" tx2="lt2" accent1="accent1" accent2="accent2" accent3="accent3" accent4="accent4" accent5="accent5" accent6="accent6" hlink="hlink" folHlink="folHlink"/>
  <p:sldLayoutIdLst>
    <p:sldLayoutId id="2147483757" r:id="rId1"/>
    <p:sldLayoutId id="2147483758" r:id="rId2"/>
    <p:sldLayoutId id="2147483770" r:id="rId3"/>
    <p:sldLayoutId id="2147483764" r:id="rId4"/>
    <p:sldLayoutId id="2147483841" r:id="rId5"/>
    <p:sldLayoutId id="2147483763" r:id="rId6"/>
    <p:sldLayoutId id="2147483842" r:id="rId7"/>
    <p:sldLayoutId id="2147483844" r:id="rId8"/>
    <p:sldLayoutId id="2147483769" r:id="rId9"/>
    <p:sldLayoutId id="2147483783" r:id="rId10"/>
    <p:sldLayoutId id="2147483845" r:id="rId11"/>
    <p:sldLayoutId id="2147483846" r:id="rId12"/>
    <p:sldLayoutId id="2147483861" r:id="rId13"/>
    <p:sldLayoutId id="2147483862" r:id="rId14"/>
    <p:sldLayoutId id="2147483863" r:id="rId15"/>
  </p:sldLayoutIdLst>
  <p:hf sldNum="0" hdr="0" ftr="0"/>
  <p:txStyles>
    <p:titleStyle>
      <a:lvl1pPr algn="l" defTabSz="914400" rtl="0" eaLnBrk="1" latinLnBrk="0" hangingPunct="1">
        <a:lnSpc>
          <a:spcPct val="90000"/>
        </a:lnSpc>
        <a:spcBef>
          <a:spcPct val="0"/>
        </a:spcBef>
        <a:buNone/>
        <a:defRPr sz="3200" b="1" i="0" kern="1200" baseline="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3738"/>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0D0E9-868E-43DF-B857-6F3C4E1FD8B0}"/>
              </a:ext>
            </a:extLst>
          </p:cNvPr>
          <p:cNvGraphicFramePr>
            <a:graphicFrameLocks noChangeAspect="1"/>
          </p:cNvGraphicFramePr>
          <p:nvPr userDrawn="1">
            <p:custDataLst>
              <p:tags r:id="rId15"/>
            </p:custDataLst>
            <p:extLst>
              <p:ext uri="{D42A27DB-BD31-4B8C-83A1-F6EECF244321}">
                <p14:modId xmlns:p14="http://schemas.microsoft.com/office/powerpoint/2010/main" val="23786814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05D0D0E9-868E-43DF-B857-6F3C4E1FD8B0}"/>
                          </a:ext>
                        </a:extLst>
                      </p:cNvPr>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0001" y="228601"/>
            <a:ext cx="11233633" cy="738664"/>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480001" y="1358865"/>
            <a:ext cx="11233632" cy="410369"/>
          </a:xfrm>
          <a:prstGeom prst="rect">
            <a:avLst/>
          </a:prstGeom>
        </p:spPr>
        <p:txBody>
          <a:bodyPr vert="horz" wrap="square" lIns="0" tIns="0" rIns="0" bIns="0" rtlCol="0">
            <a:spAutoFit/>
          </a:bodyPr>
          <a:lstStyle/>
          <a:p>
            <a:pPr lvl="0"/>
            <a:endParaRPr lang="en-US"/>
          </a:p>
        </p:txBody>
      </p:sp>
      <p:sp>
        <p:nvSpPr>
          <p:cNvPr id="15" name="TextBox 14"/>
          <p:cNvSpPr txBox="1"/>
          <p:nvPr userDrawn="1"/>
        </p:nvSpPr>
        <p:spPr>
          <a:xfrm>
            <a:off x="487683" y="6617676"/>
            <a:ext cx="4900053" cy="102657"/>
          </a:xfrm>
          <a:prstGeom prst="rect">
            <a:avLst/>
          </a:prstGeom>
          <a:noFill/>
        </p:spPr>
        <p:txBody>
          <a:bodyPr wrap="none" lIns="0" tIns="0" rIns="0" bIns="0" rtlCol="0">
            <a:spAutoFit/>
          </a:bodyPr>
          <a:lstStyle/>
          <a:p>
            <a:pPr>
              <a:lnSpc>
                <a:spcPct val="100000"/>
              </a:lnSpc>
            </a:pPr>
            <a:r>
              <a:rPr lang="en-US" sz="667" spc="0">
                <a:solidFill>
                  <a:srgbClr val="467D7D"/>
                </a:solidFill>
                <a:latin typeface="+mn-lt"/>
              </a:rPr>
              <a:t>© 2021 Veeam Software. Confidential information. All rights reserved. All trademarks are the property of their respective owners.</a:t>
            </a:r>
          </a:p>
        </p:txBody>
      </p:sp>
      <p:pic>
        <p:nvPicPr>
          <p:cNvPr id="24" name="Picture 23">
            <a:extLst>
              <a:ext uri="{FF2B5EF4-FFF2-40B4-BE49-F238E27FC236}">
                <a16:creationId xmlns:a16="http://schemas.microsoft.com/office/drawing/2014/main" id="{B13424AE-75DC-4CCF-BB99-70B400EC69F9}"/>
              </a:ext>
            </a:extLst>
          </p:cNvPr>
          <p:cNvPicPr>
            <a:picLocks noChangeAspect="1"/>
          </p:cNvPicPr>
          <p:nvPr userDrawn="1"/>
        </p:nvPicPr>
        <p:blipFill>
          <a:blip r:embed="rId18" cstate="hqprint">
            <a:alphaModFix amt="40000"/>
            <a:extLst>
              <a:ext uri="{28A0092B-C50C-407E-A947-70E740481C1C}">
                <a14:useLocalDpi xmlns:a14="http://schemas.microsoft.com/office/drawing/2010/main"/>
              </a:ext>
            </a:extLst>
          </a:blip>
          <a:stretch>
            <a:fillRect/>
          </a:stretch>
        </p:blipFill>
        <p:spPr>
          <a:xfrm>
            <a:off x="10999572" y="6590877"/>
            <a:ext cx="702309" cy="126656"/>
          </a:xfrm>
          <a:prstGeom prst="rect">
            <a:avLst/>
          </a:prstGeom>
          <a:effectLst/>
        </p:spPr>
      </p:pic>
    </p:spTree>
    <p:extLst>
      <p:ext uri="{BB962C8B-B14F-4D97-AF65-F5344CB8AC3E}">
        <p14:creationId xmlns:p14="http://schemas.microsoft.com/office/powerpoint/2010/main" val="1957109983"/>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6" r:id="rId5"/>
    <p:sldLayoutId id="2147483850" r:id="rId6"/>
    <p:sldLayoutId id="2147483852" r:id="rId7"/>
    <p:sldLayoutId id="2147483855" r:id="rId8"/>
    <p:sldLayoutId id="2147483856" r:id="rId9"/>
    <p:sldLayoutId id="2147483857" r:id="rId10"/>
    <p:sldLayoutId id="2147483858" r:id="rId11"/>
    <p:sldLayoutId id="2147483859" r:id="rId12"/>
    <p:sldLayoutId id="2147483860" r:id="rId13"/>
  </p:sldLayoutIdLst>
  <p:transition>
    <p:fade/>
  </p:transition>
  <p:hf sldNum="0" hdr="0" ftr="0"/>
  <p:txStyles>
    <p:titleStyle>
      <a:lvl1pPr algn="l" defTabSz="914455" rtl="0" eaLnBrk="1" latinLnBrk="0" hangingPunct="1">
        <a:lnSpc>
          <a:spcPct val="100000"/>
        </a:lnSpc>
        <a:spcBef>
          <a:spcPct val="0"/>
        </a:spcBef>
        <a:buNone/>
        <a:defRPr lang="en-US" sz="4799" b="0" kern="1200" cap="none" spc="0" baseline="0" dirty="0" smtClean="0">
          <a:ln w="3175">
            <a:noFill/>
          </a:ln>
          <a:solidFill>
            <a:srgbClr val="93EB20"/>
          </a:solidFill>
          <a:effectLst/>
          <a:latin typeface="+mj-lt"/>
          <a:ea typeface="+mn-ea"/>
          <a:cs typeface="Tahoma" panose="020B0604030504040204" pitchFamily="34" charset="0"/>
        </a:defRPr>
      </a:lvl1pPr>
    </p:titleStyle>
    <p:bodyStyle>
      <a:lvl1pPr marL="0" indent="0" algn="l" defTabSz="914455" rtl="0" eaLnBrk="1" latinLnBrk="0" hangingPunct="1">
        <a:lnSpc>
          <a:spcPct val="100000"/>
        </a:lnSpc>
        <a:spcBef>
          <a:spcPts val="0"/>
        </a:spcBef>
        <a:buSzPct val="90000"/>
        <a:buFont typeface="Arial" pitchFamily="34" charset="0"/>
        <a:buNone/>
        <a:defRPr sz="2666" kern="1200" spc="0" baseline="0">
          <a:solidFill>
            <a:schemeClr val="bg1"/>
          </a:solidFill>
          <a:latin typeface="+mn-lt"/>
          <a:ea typeface="+mn-ea"/>
          <a:cs typeface="+mn-cs"/>
        </a:defRPr>
      </a:lvl1pPr>
      <a:lvl2pPr marL="355494" indent="-355494" algn="l" defTabSz="914455" rtl="0" eaLnBrk="1" latinLnBrk="0" hangingPunct="1">
        <a:lnSpc>
          <a:spcPct val="100000"/>
        </a:lnSpc>
        <a:spcBef>
          <a:spcPts val="0"/>
        </a:spcBef>
        <a:buClr>
          <a:schemeClr val="tx1">
            <a:lumMod val="50000"/>
            <a:lumOff val="50000"/>
          </a:schemeClr>
        </a:buClr>
        <a:buSzPct val="90000"/>
        <a:buFont typeface="Arial" pitchFamily="34" charset="0"/>
        <a:buChar char="•"/>
        <a:tabLst/>
        <a:defRPr sz="2666" kern="1200" spc="0" baseline="0">
          <a:solidFill>
            <a:schemeClr val="tx1">
              <a:lumMod val="50000"/>
              <a:lumOff val="50000"/>
            </a:schemeClr>
          </a:solidFill>
          <a:latin typeface="+mn-lt"/>
          <a:ea typeface="+mn-ea"/>
          <a:cs typeface="+mn-cs"/>
        </a:defRPr>
      </a:lvl2pPr>
      <a:lvl3pPr marL="914491" indent="-284192" algn="l" defTabSz="914455" rtl="0" eaLnBrk="1" latinLnBrk="0" hangingPunct="1">
        <a:lnSpc>
          <a:spcPct val="90000"/>
        </a:lnSpc>
        <a:spcBef>
          <a:spcPct val="20000"/>
        </a:spcBef>
        <a:buSzPct val="90000"/>
        <a:buFont typeface="Arial" pitchFamily="34" charset="0"/>
        <a:buChar char="•"/>
        <a:defRPr sz="2399" kern="1200" spc="0" baseline="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3pPr>
      <a:lvl4pPr marL="1482876" indent="-223861" algn="l" defTabSz="914455" rtl="0" eaLnBrk="1" latinLnBrk="0" hangingPunct="1">
        <a:lnSpc>
          <a:spcPct val="90000"/>
        </a:lnSpc>
        <a:spcBef>
          <a:spcPct val="20000"/>
        </a:spcBef>
        <a:buSzPct val="90000"/>
        <a:buFont typeface="Arial" pitchFamily="34" charset="0"/>
        <a:buChar char="•"/>
        <a:tabLst>
          <a:tab pos="914491" algn="l"/>
        </a:tabLst>
        <a:defRPr sz="1866" kern="1200" spc="0">
          <a:gradFill flip="none" rotWithShape="1">
            <a:gsLst>
              <a:gs pos="0">
                <a:schemeClr val="bg1">
                  <a:lumMod val="50000"/>
                </a:schemeClr>
              </a:gs>
              <a:gs pos="100000">
                <a:schemeClr val="bg1">
                  <a:lumMod val="50000"/>
                </a:schemeClr>
              </a:gs>
            </a:gsLst>
            <a:lin ang="16200000" scaled="0"/>
            <a:tileRect/>
          </a:gradFill>
          <a:latin typeface="+mn-lt"/>
          <a:ea typeface="+mn-ea"/>
          <a:cs typeface="+mn-cs"/>
        </a:defRPr>
      </a:lvl4pPr>
      <a:lvl5pPr marL="1713085" indent="-230212" algn="l" defTabSz="914455" rtl="0" eaLnBrk="1" latinLnBrk="0" hangingPunct="1">
        <a:lnSpc>
          <a:spcPct val="90000"/>
        </a:lnSpc>
        <a:spcBef>
          <a:spcPct val="20000"/>
        </a:spcBef>
        <a:buSzPct val="90000"/>
        <a:buFont typeface="Arial" pitchFamily="34" charset="0"/>
        <a:buChar char="•"/>
        <a:defRPr sz="239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751" indent="-228615" algn="l" defTabSz="9144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977" indent="-228615" algn="l" defTabSz="9144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206" indent="-228615" algn="l" defTabSz="9144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433" indent="-228615" algn="l" defTabSz="91445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55" rtl="0" eaLnBrk="1" latinLnBrk="0" hangingPunct="1">
        <a:defRPr sz="1866" kern="1200">
          <a:solidFill>
            <a:schemeClr val="tx1"/>
          </a:solidFill>
          <a:latin typeface="+mn-lt"/>
          <a:ea typeface="+mn-ea"/>
          <a:cs typeface="+mn-cs"/>
        </a:defRPr>
      </a:lvl1pPr>
      <a:lvl2pPr marL="457228" algn="l" defTabSz="914455" rtl="0" eaLnBrk="1" latinLnBrk="0" hangingPunct="1">
        <a:defRPr sz="1866" kern="1200">
          <a:solidFill>
            <a:schemeClr val="tx1"/>
          </a:solidFill>
          <a:latin typeface="+mn-lt"/>
          <a:ea typeface="+mn-ea"/>
          <a:cs typeface="+mn-cs"/>
        </a:defRPr>
      </a:lvl2pPr>
      <a:lvl3pPr marL="914455" algn="l" defTabSz="914455" rtl="0" eaLnBrk="1" latinLnBrk="0" hangingPunct="1">
        <a:defRPr sz="1866" kern="1200">
          <a:solidFill>
            <a:schemeClr val="tx1"/>
          </a:solidFill>
          <a:latin typeface="+mn-lt"/>
          <a:ea typeface="+mn-ea"/>
          <a:cs typeface="+mn-cs"/>
        </a:defRPr>
      </a:lvl3pPr>
      <a:lvl4pPr marL="1371681" algn="l" defTabSz="914455" rtl="0" eaLnBrk="1" latinLnBrk="0" hangingPunct="1">
        <a:defRPr sz="1866" kern="1200">
          <a:solidFill>
            <a:schemeClr val="tx1"/>
          </a:solidFill>
          <a:latin typeface="+mn-lt"/>
          <a:ea typeface="+mn-ea"/>
          <a:cs typeface="+mn-cs"/>
        </a:defRPr>
      </a:lvl4pPr>
      <a:lvl5pPr marL="1828911" algn="l" defTabSz="914455" rtl="0" eaLnBrk="1" latinLnBrk="0" hangingPunct="1">
        <a:defRPr sz="1866" kern="1200">
          <a:solidFill>
            <a:schemeClr val="tx1"/>
          </a:solidFill>
          <a:latin typeface="+mn-lt"/>
          <a:ea typeface="+mn-ea"/>
          <a:cs typeface="+mn-cs"/>
        </a:defRPr>
      </a:lvl5pPr>
      <a:lvl6pPr marL="2286138" algn="l" defTabSz="914455" rtl="0" eaLnBrk="1" latinLnBrk="0" hangingPunct="1">
        <a:defRPr sz="1866" kern="1200">
          <a:solidFill>
            <a:schemeClr val="tx1"/>
          </a:solidFill>
          <a:latin typeface="+mn-lt"/>
          <a:ea typeface="+mn-ea"/>
          <a:cs typeface="+mn-cs"/>
        </a:defRPr>
      </a:lvl6pPr>
      <a:lvl7pPr marL="2743365" algn="l" defTabSz="914455" rtl="0" eaLnBrk="1" latinLnBrk="0" hangingPunct="1">
        <a:defRPr sz="1866" kern="1200">
          <a:solidFill>
            <a:schemeClr val="tx1"/>
          </a:solidFill>
          <a:latin typeface="+mn-lt"/>
          <a:ea typeface="+mn-ea"/>
          <a:cs typeface="+mn-cs"/>
        </a:defRPr>
      </a:lvl7pPr>
      <a:lvl8pPr marL="3200592" algn="l" defTabSz="914455" rtl="0" eaLnBrk="1" latinLnBrk="0" hangingPunct="1">
        <a:defRPr sz="1866" kern="1200">
          <a:solidFill>
            <a:schemeClr val="tx1"/>
          </a:solidFill>
          <a:latin typeface="+mn-lt"/>
          <a:ea typeface="+mn-ea"/>
          <a:cs typeface="+mn-cs"/>
        </a:defRPr>
      </a:lvl8pPr>
      <a:lvl9pPr marL="3657820" algn="l" defTabSz="914455" rtl="0" eaLnBrk="1" latinLnBrk="0" hangingPunct="1">
        <a:defRPr sz="186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paloaltonetworks.com/partners/nextwave-partner-portal/partner-program/solution-provider"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hyperlink" Target="https://beacon.paloaltonetworks.com/student/collection/1352397" TargetMode="External"/><Relationship Id="rId13" Type="http://schemas.openxmlformats.org/officeDocument/2006/relationships/hyperlink" Target="https://beacon.paloaltonetworks.com/student/path/656422-palo-alto-networks-accredited-systems-engineer-pse-cortex-professional" TargetMode="External"/><Relationship Id="rId18" Type="http://schemas.openxmlformats.org/officeDocument/2006/relationships/hyperlink" Target="https://beacon.paloaltonetworks.com/student/collection/1049772?sid=fcde23d5-64bf-4012-bb07-9e07168fe690&amp;sid_i=0" TargetMode="External"/><Relationship Id="rId26" Type="http://schemas.openxmlformats.org/officeDocument/2006/relationships/hyperlink" Target="https://beacon.paloaltonetworks.com/student/collection/694084-palo-alto-networks-micro-credential-for-cortex-xsoar-consultant-pmxrc" TargetMode="External"/><Relationship Id="rId3" Type="http://schemas.openxmlformats.org/officeDocument/2006/relationships/hyperlink" Target="https://beacon.paloaltonetworks.com/student/collection/1352410" TargetMode="External"/><Relationship Id="rId21" Type="http://schemas.openxmlformats.org/officeDocument/2006/relationships/hyperlink" Target="https://www.paloaltonetworks.com/content/dam/pan/en_US/assets/pdf/datasheets/education/pccse-study-guide.pdf" TargetMode="External"/><Relationship Id="rId7" Type="http://schemas.openxmlformats.org/officeDocument/2006/relationships/hyperlink" Target="https://beacon.paloaltonetworks.com/student/collection/1352396" TargetMode="External"/><Relationship Id="rId12" Type="http://schemas.openxmlformats.org/officeDocument/2006/relationships/hyperlink" Target="https://beacon.paloaltonetworks.com/student/path/656425-palo-alto-networks-accredited-systems-engineer-pse-prisma-cloud-professional" TargetMode="External"/><Relationship Id="rId17" Type="http://schemas.openxmlformats.org/officeDocument/2006/relationships/hyperlink" Target="https://beacon.paloaltonetworks.com/student/collection/1049773?sid=d9ca6e70-30d5-4d09-b856-a9b23aa14fbc&amp;sid_i=0" TargetMode="External"/><Relationship Id="rId25" Type="http://schemas.openxmlformats.org/officeDocument/2006/relationships/hyperlink" Target="https://www.paloaltonetworks.com/content/dam/pan/en_US/assets/pdf/datasheets/education/pcsae-study-guide.pdf" TargetMode="External"/><Relationship Id="rId2" Type="http://schemas.openxmlformats.org/officeDocument/2006/relationships/notesSlide" Target="../notesSlides/notesSlide3.xml"/><Relationship Id="rId16" Type="http://schemas.openxmlformats.org/officeDocument/2006/relationships/hyperlink" Target="https://beacon.paloaltonetworks.com/student/collection/1049774?sid=ad5639e5-2cf2-450f-a35f-81b94c98354a&amp;sid_i=0" TargetMode="External"/><Relationship Id="rId20" Type="http://schemas.openxmlformats.org/officeDocument/2006/relationships/hyperlink" Target="https://beacon.paloaltonetworks.com/student/collection/781207-palo-alto-networks-micro-credential-remote-network-administrator-pmrna" TargetMode="External"/><Relationship Id="rId1" Type="http://schemas.openxmlformats.org/officeDocument/2006/relationships/slideLayout" Target="../slideLayouts/slideLayout15.xml"/><Relationship Id="rId6" Type="http://schemas.openxmlformats.org/officeDocument/2006/relationships/hyperlink" Target="https://beacon.paloaltonetworks.com/student/collection/770085" TargetMode="External"/><Relationship Id="rId11" Type="http://schemas.openxmlformats.org/officeDocument/2006/relationships/hyperlink" Target="https://beacon.paloaltonetworks.com/student/path/1028979-palo-alto-networks-systems-engineer-pse-sase-professional?sid=3b3e18f4-b366-45d1-a3e0-91350299653a&amp;sid_i=0" TargetMode="External"/><Relationship Id="rId24" Type="http://schemas.openxmlformats.org/officeDocument/2006/relationships/hyperlink" Target="https://beacon.paloaltonetworks.com/student/collection/693989-palo-alto-networks-micro-credential-for-cortex-xdr-consultant-pmxdc" TargetMode="External"/><Relationship Id="rId5" Type="http://schemas.openxmlformats.org/officeDocument/2006/relationships/hyperlink" Target="https://beacon.paloaltonetworks.com/student/collection/770084" TargetMode="External"/><Relationship Id="rId15" Type="http://schemas.openxmlformats.org/officeDocument/2006/relationships/hyperlink" Target="https://www.paloaltonetworks.com/content/dam/pan/en_US/partners/nextwave/enablement/pcnsc-datasheet.pdf." TargetMode="External"/><Relationship Id="rId23" Type="http://schemas.openxmlformats.org/officeDocument/2006/relationships/hyperlink" Target="https://beacon.paloaltonetworks.com/student/collection/708391-palo-alto-networks-micro-credential-for-cortex-xdr-support-engineer-pmxds?sid=36245777&amp;sid_i=0" TargetMode="External"/><Relationship Id="rId10" Type="http://schemas.openxmlformats.org/officeDocument/2006/relationships/hyperlink" Target="https://beacon.paloaltonetworks.com/student/collection/1179574?sid=440520ad-6f99-4980-b698-d9394b3d0453&amp;sid_i=2" TargetMode="External"/><Relationship Id="rId19" Type="http://schemas.openxmlformats.org/officeDocument/2006/relationships/hyperlink" Target="https://beacon.paloaltonetworks.com/student/collection/781496-palo-alto-networks-micro-credential-remote-user-administrator-pmrua" TargetMode="External"/><Relationship Id="rId4" Type="http://schemas.openxmlformats.org/officeDocument/2006/relationships/hyperlink" Target="https://beacon.paloaltonetworks.com/student/collection/1352411" TargetMode="External"/><Relationship Id="rId9" Type="http://schemas.openxmlformats.org/officeDocument/2006/relationships/hyperlink" Target="https://beacon.paloaltonetworks.com/student/path/656332-palo-alto-networks-accredited-systems-engineer-pse-strata-professional" TargetMode="External"/><Relationship Id="rId14" Type="http://schemas.openxmlformats.org/officeDocument/2006/relationships/hyperlink" Target="https://beacon.paloaltonetworks.com/student/path/668346-palo-alto-networks-certified-network-security-engineer-pcnse" TargetMode="External"/><Relationship Id="rId22" Type="http://schemas.openxmlformats.org/officeDocument/2006/relationships/hyperlink" Target="https://beacon.paloaltonetworks.com/student/collection/937864?sid=9946d542-530e-428d-ae47-f7ccd6b8bb18&amp;sid_i=0" TargetMode="External"/><Relationship Id="rId27" Type="http://schemas.openxmlformats.org/officeDocument/2006/relationships/hyperlink" Target="https://www.paloaltonetworks.com/content/dam/pan/en_US/partners/nextwave/nextwave-engagement-points-guide.pdf" TargetMode="External"/></Relationships>
</file>

<file path=ppt/slides/_rels/slide8.xml.rels><?xml version="1.0" encoding="UTF-8" standalone="yes"?>
<Relationships xmlns="http://schemas.openxmlformats.org/package/2006/relationships"><Relationship Id="rId2" Type="http://schemas.openxmlformats.org/officeDocument/2006/relationships/hyperlink" Target="https://www.paloaltonetworks.com/content/dam/pan/en_US/partners/nextwave/nextwave-engagement-points-guide.pdf" TargetMode="Externa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4294967295"/>
          </p:nvPr>
        </p:nvPicPr>
        <p:blipFill rotWithShape="1">
          <a:blip r:embed="rId3">
            <a:extLst>
              <a:ext uri="{28A0092B-C50C-407E-A947-70E740481C1C}">
                <a14:useLocalDpi xmlns:a14="http://schemas.microsoft.com/office/drawing/2010/main"/>
              </a:ext>
            </a:extLst>
          </a:blip>
          <a:srcRect t="44" b="44"/>
          <a:stretch/>
        </p:blipFill>
        <p:spPr>
          <a:xfrm>
            <a:off x="0" y="0"/>
            <a:ext cx="12192000" cy="6858000"/>
          </a:xfrm>
        </p:spPr>
      </p:pic>
      <p:sp>
        <p:nvSpPr>
          <p:cNvPr id="12" name="Rectangle 11"/>
          <p:cNvSpPr/>
          <p:nvPr/>
        </p:nvSpPr>
        <p:spPr>
          <a:xfrm>
            <a:off x="-6805" y="0"/>
            <a:ext cx="12192000"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4000" b="1" dirty="0">
                <a:solidFill>
                  <a:schemeClr val="accent2"/>
                </a:solidFill>
                <a:latin typeface="Montserrat" panose="00000500000000000000" pitchFamily="2" charset="-18"/>
              </a:rPr>
              <a:t>Změny v partnerském programu</a:t>
            </a:r>
          </a:p>
          <a:p>
            <a:pPr algn="ctr"/>
            <a:r>
              <a:rPr lang="cs-CZ" sz="4000" b="1" dirty="0">
                <a:solidFill>
                  <a:schemeClr val="accent2"/>
                </a:solidFill>
                <a:latin typeface="Montserrat" panose="00000500000000000000" pitchFamily="2" charset="-18"/>
              </a:rPr>
              <a:t>NextWave Palo Alto Networks</a:t>
            </a:r>
          </a:p>
          <a:p>
            <a:pPr algn="ctr"/>
            <a:endParaRPr lang="cs-CZ" sz="2800" dirty="0"/>
          </a:p>
          <a:p>
            <a:pPr algn="ctr"/>
            <a:endParaRPr lang="cs-CZ" sz="2800" dirty="0"/>
          </a:p>
          <a:p>
            <a:pPr algn="ctr"/>
            <a:endParaRPr lang="cs-CZ" sz="2800" dirty="0"/>
          </a:p>
          <a:p>
            <a:pPr algn="ctr"/>
            <a:endParaRPr lang="cs-CZ" sz="2800" dirty="0"/>
          </a:p>
          <a:p>
            <a:pPr algn="ctr"/>
            <a:r>
              <a:rPr lang="cs-CZ" sz="2800" dirty="0"/>
              <a:t> </a:t>
            </a:r>
            <a:endParaRPr lang="id-ID" sz="2800" dirty="0"/>
          </a:p>
        </p:txBody>
      </p:sp>
      <p:grpSp>
        <p:nvGrpSpPr>
          <p:cNvPr id="20" name="Group 5">
            <a:extLst>
              <a:ext uri="{FF2B5EF4-FFF2-40B4-BE49-F238E27FC236}">
                <a16:creationId xmlns:a16="http://schemas.microsoft.com/office/drawing/2014/main" id="{F98ACED1-F9B7-6552-DBB3-9081A5074334}"/>
              </a:ext>
            </a:extLst>
          </p:cNvPr>
          <p:cNvGrpSpPr>
            <a:grpSpLocks noChangeAspect="1"/>
          </p:cNvGrpSpPr>
          <p:nvPr/>
        </p:nvGrpSpPr>
        <p:grpSpPr bwMode="auto">
          <a:xfrm>
            <a:off x="1052513" y="733426"/>
            <a:ext cx="2438400" cy="471487"/>
            <a:chOff x="663" y="462"/>
            <a:chExt cx="1536" cy="297"/>
          </a:xfrm>
        </p:grpSpPr>
        <p:sp>
          <p:nvSpPr>
            <p:cNvPr id="21" name="Freeform 6">
              <a:extLst>
                <a:ext uri="{FF2B5EF4-FFF2-40B4-BE49-F238E27FC236}">
                  <a16:creationId xmlns:a16="http://schemas.microsoft.com/office/drawing/2014/main" id="{0CD26A94-2501-A81C-FB25-C07D002A3FC5}"/>
                </a:ext>
              </a:extLst>
            </p:cNvPr>
            <p:cNvSpPr>
              <a:spLocks/>
            </p:cNvSpPr>
            <p:nvPr/>
          </p:nvSpPr>
          <p:spPr bwMode="auto">
            <a:xfrm>
              <a:off x="742" y="507"/>
              <a:ext cx="89" cy="142"/>
            </a:xfrm>
            <a:custGeom>
              <a:avLst/>
              <a:gdLst>
                <a:gd name="T0" fmla="*/ 21 w 713"/>
                <a:gd name="T1" fmla="*/ 442 h 1124"/>
                <a:gd name="T2" fmla="*/ 21 w 713"/>
                <a:gd name="T3" fmla="*/ 442 h 1124"/>
                <a:gd name="T4" fmla="*/ 123 w 713"/>
                <a:gd name="T5" fmla="*/ 233 h 1124"/>
                <a:gd name="T6" fmla="*/ 301 w 713"/>
                <a:gd name="T7" fmla="*/ 83 h 1124"/>
                <a:gd name="T8" fmla="*/ 709 w 713"/>
                <a:gd name="T9" fmla="*/ 37 h 1124"/>
                <a:gd name="T10" fmla="*/ 712 w 713"/>
                <a:gd name="T11" fmla="*/ 38 h 1124"/>
                <a:gd name="T12" fmla="*/ 713 w 713"/>
                <a:gd name="T13" fmla="*/ 39 h 1124"/>
                <a:gd name="T14" fmla="*/ 712 w 713"/>
                <a:gd name="T15" fmla="*/ 41 h 1124"/>
                <a:gd name="T16" fmla="*/ 710 w 713"/>
                <a:gd name="T17" fmla="*/ 41 h 1124"/>
                <a:gd name="T18" fmla="*/ 249 w 713"/>
                <a:gd name="T19" fmla="*/ 631 h 1124"/>
                <a:gd name="T20" fmla="*/ 297 w 713"/>
                <a:gd name="T21" fmla="*/ 900 h 1124"/>
                <a:gd name="T22" fmla="*/ 450 w 713"/>
                <a:gd name="T23" fmla="*/ 1121 h 1124"/>
                <a:gd name="T24" fmla="*/ 450 w 713"/>
                <a:gd name="T25" fmla="*/ 1122 h 1124"/>
                <a:gd name="T26" fmla="*/ 450 w 713"/>
                <a:gd name="T27" fmla="*/ 1123 h 1124"/>
                <a:gd name="T28" fmla="*/ 450 w 713"/>
                <a:gd name="T29" fmla="*/ 1123 h 1124"/>
                <a:gd name="T30" fmla="*/ 449 w 713"/>
                <a:gd name="T31" fmla="*/ 1123 h 1124"/>
                <a:gd name="T32" fmla="*/ 246 w 713"/>
                <a:gd name="T33" fmla="*/ 1037 h 1124"/>
                <a:gd name="T34" fmla="*/ 91 w 713"/>
                <a:gd name="T35" fmla="*/ 875 h 1124"/>
                <a:gd name="T36" fmla="*/ 12 w 713"/>
                <a:gd name="T37" fmla="*/ 666 h 1124"/>
                <a:gd name="T38" fmla="*/ 21 w 713"/>
                <a:gd name="T39" fmla="*/ 442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1124">
                  <a:moveTo>
                    <a:pt x="21" y="442"/>
                  </a:moveTo>
                  <a:lnTo>
                    <a:pt x="21" y="442"/>
                  </a:lnTo>
                  <a:cubicBezTo>
                    <a:pt x="40" y="366"/>
                    <a:pt x="75" y="295"/>
                    <a:pt x="123" y="233"/>
                  </a:cubicBezTo>
                  <a:cubicBezTo>
                    <a:pt x="171" y="171"/>
                    <a:pt x="232" y="120"/>
                    <a:pt x="301" y="83"/>
                  </a:cubicBezTo>
                  <a:cubicBezTo>
                    <a:pt x="426" y="17"/>
                    <a:pt x="572" y="0"/>
                    <a:pt x="709" y="37"/>
                  </a:cubicBezTo>
                  <a:lnTo>
                    <a:pt x="712" y="38"/>
                  </a:lnTo>
                  <a:cubicBezTo>
                    <a:pt x="712" y="38"/>
                    <a:pt x="713" y="39"/>
                    <a:pt x="713" y="39"/>
                  </a:cubicBezTo>
                  <a:cubicBezTo>
                    <a:pt x="713" y="39"/>
                    <a:pt x="713" y="40"/>
                    <a:pt x="712" y="41"/>
                  </a:cubicBezTo>
                  <a:lnTo>
                    <a:pt x="710" y="41"/>
                  </a:lnTo>
                  <a:cubicBezTo>
                    <a:pt x="449" y="101"/>
                    <a:pt x="258" y="342"/>
                    <a:pt x="249" y="631"/>
                  </a:cubicBezTo>
                  <a:cubicBezTo>
                    <a:pt x="245" y="723"/>
                    <a:pt x="261" y="814"/>
                    <a:pt x="297" y="900"/>
                  </a:cubicBezTo>
                  <a:cubicBezTo>
                    <a:pt x="331" y="984"/>
                    <a:pt x="384" y="1059"/>
                    <a:pt x="450" y="1121"/>
                  </a:cubicBezTo>
                  <a:lnTo>
                    <a:pt x="450" y="1122"/>
                  </a:lnTo>
                  <a:cubicBezTo>
                    <a:pt x="450" y="1122"/>
                    <a:pt x="451" y="1123"/>
                    <a:pt x="450" y="1123"/>
                  </a:cubicBezTo>
                  <a:cubicBezTo>
                    <a:pt x="450" y="1123"/>
                    <a:pt x="450" y="1124"/>
                    <a:pt x="450" y="1123"/>
                  </a:cubicBezTo>
                  <a:lnTo>
                    <a:pt x="449" y="1123"/>
                  </a:lnTo>
                  <a:cubicBezTo>
                    <a:pt x="376" y="1108"/>
                    <a:pt x="308" y="1079"/>
                    <a:pt x="246" y="1037"/>
                  </a:cubicBezTo>
                  <a:cubicBezTo>
                    <a:pt x="184" y="994"/>
                    <a:pt x="132" y="939"/>
                    <a:pt x="91" y="875"/>
                  </a:cubicBezTo>
                  <a:cubicBezTo>
                    <a:pt x="51" y="811"/>
                    <a:pt x="24" y="740"/>
                    <a:pt x="12" y="666"/>
                  </a:cubicBezTo>
                  <a:cubicBezTo>
                    <a:pt x="0" y="591"/>
                    <a:pt x="3" y="515"/>
                    <a:pt x="21" y="442"/>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7">
              <a:extLst>
                <a:ext uri="{FF2B5EF4-FFF2-40B4-BE49-F238E27FC236}">
                  <a16:creationId xmlns:a16="http://schemas.microsoft.com/office/drawing/2014/main" id="{E2A8D075-C843-B1BC-9DB0-C6FBA5FF5B68}"/>
                </a:ext>
              </a:extLst>
            </p:cNvPr>
            <p:cNvSpPr>
              <a:spLocks/>
            </p:cNvSpPr>
            <p:nvPr/>
          </p:nvSpPr>
          <p:spPr bwMode="auto">
            <a:xfrm>
              <a:off x="787" y="529"/>
              <a:ext cx="114" cy="89"/>
            </a:xfrm>
            <a:custGeom>
              <a:avLst/>
              <a:gdLst>
                <a:gd name="T0" fmla="*/ 262 w 912"/>
                <a:gd name="T1" fmla="*/ 56 h 708"/>
                <a:gd name="T2" fmla="*/ 262 w 912"/>
                <a:gd name="T3" fmla="*/ 56 h 708"/>
                <a:gd name="T4" fmla="*/ 454 w 912"/>
                <a:gd name="T5" fmla="*/ 4 h 708"/>
                <a:gd name="T6" fmla="*/ 651 w 912"/>
                <a:gd name="T7" fmla="*/ 33 h 708"/>
                <a:gd name="T8" fmla="*/ 911 w 912"/>
                <a:gd name="T9" fmla="*/ 266 h 708"/>
                <a:gd name="T10" fmla="*/ 912 w 912"/>
                <a:gd name="T11" fmla="*/ 269 h 708"/>
                <a:gd name="T12" fmla="*/ 912 w 912"/>
                <a:gd name="T13" fmla="*/ 270 h 708"/>
                <a:gd name="T14" fmla="*/ 910 w 912"/>
                <a:gd name="T15" fmla="*/ 270 h 708"/>
                <a:gd name="T16" fmla="*/ 909 w 912"/>
                <a:gd name="T17" fmla="*/ 269 h 708"/>
                <a:gd name="T18" fmla="*/ 270 w 912"/>
                <a:gd name="T19" fmla="*/ 305 h 708"/>
                <a:gd name="T20" fmla="*/ 124 w 912"/>
                <a:gd name="T21" fmla="*/ 486 h 708"/>
                <a:gd name="T22" fmla="*/ 68 w 912"/>
                <a:gd name="T23" fmla="*/ 706 h 708"/>
                <a:gd name="T24" fmla="*/ 68 w 912"/>
                <a:gd name="T25" fmla="*/ 707 h 708"/>
                <a:gd name="T26" fmla="*/ 68 w 912"/>
                <a:gd name="T27" fmla="*/ 708 h 708"/>
                <a:gd name="T28" fmla="*/ 67 w 912"/>
                <a:gd name="T29" fmla="*/ 707 h 708"/>
                <a:gd name="T30" fmla="*/ 67 w 912"/>
                <a:gd name="T31" fmla="*/ 707 h 708"/>
                <a:gd name="T32" fmla="*/ 8 w 912"/>
                <a:gd name="T33" fmla="*/ 530 h 708"/>
                <a:gd name="T34" fmla="*/ 24 w 912"/>
                <a:gd name="T35" fmla="*/ 342 h 708"/>
                <a:gd name="T36" fmla="*/ 113 w 912"/>
                <a:gd name="T37" fmla="*/ 175 h 708"/>
                <a:gd name="T38" fmla="*/ 262 w 912"/>
                <a:gd name="T39" fmla="*/ 56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12" h="708">
                  <a:moveTo>
                    <a:pt x="262" y="56"/>
                  </a:moveTo>
                  <a:lnTo>
                    <a:pt x="262" y="56"/>
                  </a:lnTo>
                  <a:cubicBezTo>
                    <a:pt x="321" y="26"/>
                    <a:pt x="387" y="8"/>
                    <a:pt x="454" y="4"/>
                  </a:cubicBezTo>
                  <a:cubicBezTo>
                    <a:pt x="521" y="0"/>
                    <a:pt x="588" y="10"/>
                    <a:pt x="651" y="33"/>
                  </a:cubicBezTo>
                  <a:cubicBezTo>
                    <a:pt x="764" y="76"/>
                    <a:pt x="857" y="159"/>
                    <a:pt x="911" y="266"/>
                  </a:cubicBezTo>
                  <a:lnTo>
                    <a:pt x="912" y="269"/>
                  </a:lnTo>
                  <a:cubicBezTo>
                    <a:pt x="912" y="269"/>
                    <a:pt x="912" y="270"/>
                    <a:pt x="912" y="270"/>
                  </a:cubicBezTo>
                  <a:cubicBezTo>
                    <a:pt x="912" y="270"/>
                    <a:pt x="911" y="271"/>
                    <a:pt x="910" y="270"/>
                  </a:cubicBezTo>
                  <a:lnTo>
                    <a:pt x="909" y="269"/>
                  </a:lnTo>
                  <a:cubicBezTo>
                    <a:pt x="723" y="137"/>
                    <a:pt x="460" y="150"/>
                    <a:pt x="270" y="305"/>
                  </a:cubicBezTo>
                  <a:cubicBezTo>
                    <a:pt x="209" y="354"/>
                    <a:pt x="159" y="416"/>
                    <a:pt x="124" y="486"/>
                  </a:cubicBezTo>
                  <a:cubicBezTo>
                    <a:pt x="90" y="554"/>
                    <a:pt x="71" y="630"/>
                    <a:pt x="68" y="706"/>
                  </a:cubicBezTo>
                  <a:lnTo>
                    <a:pt x="68" y="707"/>
                  </a:lnTo>
                  <a:cubicBezTo>
                    <a:pt x="68" y="707"/>
                    <a:pt x="68" y="708"/>
                    <a:pt x="68" y="708"/>
                  </a:cubicBezTo>
                  <a:cubicBezTo>
                    <a:pt x="68" y="708"/>
                    <a:pt x="67" y="708"/>
                    <a:pt x="67" y="707"/>
                  </a:cubicBezTo>
                  <a:lnTo>
                    <a:pt x="67" y="707"/>
                  </a:lnTo>
                  <a:cubicBezTo>
                    <a:pt x="35" y="652"/>
                    <a:pt x="15" y="592"/>
                    <a:pt x="8" y="530"/>
                  </a:cubicBezTo>
                  <a:cubicBezTo>
                    <a:pt x="0" y="467"/>
                    <a:pt x="6" y="403"/>
                    <a:pt x="24" y="342"/>
                  </a:cubicBezTo>
                  <a:cubicBezTo>
                    <a:pt x="42" y="281"/>
                    <a:pt x="72" y="224"/>
                    <a:pt x="113" y="175"/>
                  </a:cubicBezTo>
                  <a:cubicBezTo>
                    <a:pt x="154" y="126"/>
                    <a:pt x="205" y="85"/>
                    <a:pt x="262" y="56"/>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8">
              <a:extLst>
                <a:ext uri="{FF2B5EF4-FFF2-40B4-BE49-F238E27FC236}">
                  <a16:creationId xmlns:a16="http://schemas.microsoft.com/office/drawing/2014/main" id="{7A9E6418-EE2E-E5C7-9A71-47CA5576F31F}"/>
                </a:ext>
              </a:extLst>
            </p:cNvPr>
            <p:cNvSpPr>
              <a:spLocks noEditPoints="1"/>
            </p:cNvSpPr>
            <p:nvPr/>
          </p:nvSpPr>
          <p:spPr bwMode="auto">
            <a:xfrm>
              <a:off x="663" y="462"/>
              <a:ext cx="296" cy="297"/>
            </a:xfrm>
            <a:custGeom>
              <a:avLst/>
              <a:gdLst>
                <a:gd name="T0" fmla="*/ 2237 w 2363"/>
                <a:gd name="T1" fmla="*/ 1182 h 2364"/>
                <a:gd name="T2" fmla="*/ 2237 w 2363"/>
                <a:gd name="T3" fmla="*/ 1182 h 2364"/>
                <a:gd name="T4" fmla="*/ 1181 w 2363"/>
                <a:gd name="T5" fmla="*/ 2238 h 2364"/>
                <a:gd name="T6" fmla="*/ 125 w 2363"/>
                <a:gd name="T7" fmla="*/ 1182 h 2364"/>
                <a:gd name="T8" fmla="*/ 1181 w 2363"/>
                <a:gd name="T9" fmla="*/ 126 h 2364"/>
                <a:gd name="T10" fmla="*/ 2237 w 2363"/>
                <a:gd name="T11" fmla="*/ 1182 h 2364"/>
                <a:gd name="T12" fmla="*/ 2237 w 2363"/>
                <a:gd name="T13" fmla="*/ 1182 h 2364"/>
                <a:gd name="T14" fmla="*/ 1181 w 2363"/>
                <a:gd name="T15" fmla="*/ 0 h 2364"/>
                <a:gd name="T16" fmla="*/ 1181 w 2363"/>
                <a:gd name="T17" fmla="*/ 0 h 2364"/>
                <a:gd name="T18" fmla="*/ 0 w 2363"/>
                <a:gd name="T19" fmla="*/ 1182 h 2364"/>
                <a:gd name="T20" fmla="*/ 1181 w 2363"/>
                <a:gd name="T21" fmla="*/ 2364 h 2364"/>
                <a:gd name="T22" fmla="*/ 2363 w 2363"/>
                <a:gd name="T23" fmla="*/ 1182 h 2364"/>
                <a:gd name="T24" fmla="*/ 1181 w 2363"/>
                <a:gd name="T25" fmla="*/ 0 h 2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63" h="2364">
                  <a:moveTo>
                    <a:pt x="2237" y="1182"/>
                  </a:moveTo>
                  <a:lnTo>
                    <a:pt x="2237" y="1182"/>
                  </a:lnTo>
                  <a:cubicBezTo>
                    <a:pt x="2237" y="1764"/>
                    <a:pt x="1763" y="2238"/>
                    <a:pt x="1181" y="2238"/>
                  </a:cubicBezTo>
                  <a:cubicBezTo>
                    <a:pt x="599" y="2238"/>
                    <a:pt x="125" y="1764"/>
                    <a:pt x="125" y="1182"/>
                  </a:cubicBezTo>
                  <a:cubicBezTo>
                    <a:pt x="125" y="600"/>
                    <a:pt x="599" y="126"/>
                    <a:pt x="1181" y="126"/>
                  </a:cubicBezTo>
                  <a:cubicBezTo>
                    <a:pt x="1763" y="126"/>
                    <a:pt x="2237" y="600"/>
                    <a:pt x="2237" y="1182"/>
                  </a:cubicBezTo>
                  <a:lnTo>
                    <a:pt x="2237" y="1182"/>
                  </a:lnTo>
                  <a:close/>
                  <a:moveTo>
                    <a:pt x="1181" y="0"/>
                  </a:moveTo>
                  <a:lnTo>
                    <a:pt x="1181" y="0"/>
                  </a:lnTo>
                  <a:cubicBezTo>
                    <a:pt x="530" y="0"/>
                    <a:pt x="0" y="530"/>
                    <a:pt x="0" y="1182"/>
                  </a:cubicBezTo>
                  <a:cubicBezTo>
                    <a:pt x="0" y="1833"/>
                    <a:pt x="530" y="2364"/>
                    <a:pt x="1181" y="2364"/>
                  </a:cubicBezTo>
                  <a:cubicBezTo>
                    <a:pt x="1833" y="2364"/>
                    <a:pt x="2363" y="1833"/>
                    <a:pt x="2363" y="1182"/>
                  </a:cubicBezTo>
                  <a:cubicBezTo>
                    <a:pt x="2363" y="530"/>
                    <a:pt x="1833" y="0"/>
                    <a:pt x="1181" y="0"/>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9">
              <a:extLst>
                <a:ext uri="{FF2B5EF4-FFF2-40B4-BE49-F238E27FC236}">
                  <a16:creationId xmlns:a16="http://schemas.microsoft.com/office/drawing/2014/main" id="{ECC1DB65-75B8-76E1-8B43-189F5D9F4167}"/>
                </a:ext>
              </a:extLst>
            </p:cNvPr>
            <p:cNvSpPr>
              <a:spLocks/>
            </p:cNvSpPr>
            <p:nvPr/>
          </p:nvSpPr>
          <p:spPr bwMode="auto">
            <a:xfrm>
              <a:off x="708" y="535"/>
              <a:ext cx="141" cy="179"/>
            </a:xfrm>
            <a:custGeom>
              <a:avLst/>
              <a:gdLst>
                <a:gd name="T0" fmla="*/ 923 w 1119"/>
                <a:gd name="T1" fmla="*/ 1019 h 1418"/>
                <a:gd name="T2" fmla="*/ 923 w 1119"/>
                <a:gd name="T3" fmla="*/ 1019 h 1418"/>
                <a:gd name="T4" fmla="*/ 891 w 1119"/>
                <a:gd name="T5" fmla="*/ 1021 h 1418"/>
                <a:gd name="T6" fmla="*/ 803 w 1119"/>
                <a:gd name="T7" fmla="*/ 1028 h 1418"/>
                <a:gd name="T8" fmla="*/ 146 w 1119"/>
                <a:gd name="T9" fmla="*/ 371 h 1418"/>
                <a:gd name="T10" fmla="*/ 260 w 1119"/>
                <a:gd name="T11" fmla="*/ 3 h 1418"/>
                <a:gd name="T12" fmla="*/ 260 w 1119"/>
                <a:gd name="T13" fmla="*/ 1 h 1418"/>
                <a:gd name="T14" fmla="*/ 259 w 1119"/>
                <a:gd name="T15" fmla="*/ 1 h 1418"/>
                <a:gd name="T16" fmla="*/ 0 w 1119"/>
                <a:gd name="T17" fmla="*/ 599 h 1418"/>
                <a:gd name="T18" fmla="*/ 819 w 1119"/>
                <a:gd name="T19" fmla="*/ 1418 h 1418"/>
                <a:gd name="T20" fmla="*/ 957 w 1119"/>
                <a:gd name="T21" fmla="*/ 1407 h 1418"/>
                <a:gd name="T22" fmla="*/ 957 w 1119"/>
                <a:gd name="T23" fmla="*/ 1407 h 1418"/>
                <a:gd name="T24" fmla="*/ 1119 w 1119"/>
                <a:gd name="T25" fmla="*/ 1214 h 1418"/>
                <a:gd name="T26" fmla="*/ 923 w 1119"/>
                <a:gd name="T27" fmla="*/ 1019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9" h="1418">
                  <a:moveTo>
                    <a:pt x="923" y="1019"/>
                  </a:moveTo>
                  <a:lnTo>
                    <a:pt x="923" y="1019"/>
                  </a:lnTo>
                  <a:cubicBezTo>
                    <a:pt x="912" y="1019"/>
                    <a:pt x="891" y="1021"/>
                    <a:pt x="891" y="1021"/>
                  </a:cubicBezTo>
                  <a:cubicBezTo>
                    <a:pt x="862" y="1025"/>
                    <a:pt x="833" y="1028"/>
                    <a:pt x="803" y="1028"/>
                  </a:cubicBezTo>
                  <a:cubicBezTo>
                    <a:pt x="440" y="1028"/>
                    <a:pt x="146" y="734"/>
                    <a:pt x="146" y="371"/>
                  </a:cubicBezTo>
                  <a:cubicBezTo>
                    <a:pt x="146" y="234"/>
                    <a:pt x="189" y="108"/>
                    <a:pt x="260" y="3"/>
                  </a:cubicBezTo>
                  <a:cubicBezTo>
                    <a:pt x="260" y="3"/>
                    <a:pt x="261" y="2"/>
                    <a:pt x="260" y="1"/>
                  </a:cubicBezTo>
                  <a:cubicBezTo>
                    <a:pt x="260" y="0"/>
                    <a:pt x="259" y="1"/>
                    <a:pt x="259" y="1"/>
                  </a:cubicBezTo>
                  <a:cubicBezTo>
                    <a:pt x="99" y="151"/>
                    <a:pt x="0" y="363"/>
                    <a:pt x="0" y="599"/>
                  </a:cubicBezTo>
                  <a:cubicBezTo>
                    <a:pt x="0" y="1051"/>
                    <a:pt x="366" y="1418"/>
                    <a:pt x="819" y="1418"/>
                  </a:cubicBezTo>
                  <a:cubicBezTo>
                    <a:pt x="866" y="1418"/>
                    <a:pt x="912" y="1414"/>
                    <a:pt x="957" y="1407"/>
                  </a:cubicBezTo>
                  <a:lnTo>
                    <a:pt x="957" y="1407"/>
                  </a:lnTo>
                  <a:cubicBezTo>
                    <a:pt x="1049" y="1391"/>
                    <a:pt x="1119" y="1310"/>
                    <a:pt x="1119" y="1214"/>
                  </a:cubicBezTo>
                  <a:cubicBezTo>
                    <a:pt x="1119" y="1106"/>
                    <a:pt x="1031" y="1019"/>
                    <a:pt x="923" y="1019"/>
                  </a:cubicBezTo>
                  <a:close/>
                </a:path>
              </a:pathLst>
            </a:custGeom>
            <a:solidFill>
              <a:srgbClr val="3FC0D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0">
              <a:extLst>
                <a:ext uri="{FF2B5EF4-FFF2-40B4-BE49-F238E27FC236}">
                  <a16:creationId xmlns:a16="http://schemas.microsoft.com/office/drawing/2014/main" id="{9902CE16-9929-0691-91E4-606E4AC3A014}"/>
                </a:ext>
              </a:extLst>
            </p:cNvPr>
            <p:cNvSpPr>
              <a:spLocks/>
            </p:cNvSpPr>
            <p:nvPr/>
          </p:nvSpPr>
          <p:spPr bwMode="auto">
            <a:xfrm>
              <a:off x="1036" y="539"/>
              <a:ext cx="111" cy="142"/>
            </a:xfrm>
            <a:custGeom>
              <a:avLst/>
              <a:gdLst>
                <a:gd name="T0" fmla="*/ 341 w 881"/>
                <a:gd name="T1" fmla="*/ 1128 h 1128"/>
                <a:gd name="T2" fmla="*/ 341 w 881"/>
                <a:gd name="T3" fmla="*/ 1128 h 1128"/>
                <a:gd name="T4" fmla="*/ 341 w 881"/>
                <a:gd name="T5" fmla="*/ 174 h 1128"/>
                <a:gd name="T6" fmla="*/ 0 w 881"/>
                <a:gd name="T7" fmla="*/ 174 h 1128"/>
                <a:gd name="T8" fmla="*/ 0 w 881"/>
                <a:gd name="T9" fmla="*/ 0 h 1128"/>
                <a:gd name="T10" fmla="*/ 881 w 881"/>
                <a:gd name="T11" fmla="*/ 0 h 1128"/>
                <a:gd name="T12" fmla="*/ 881 w 881"/>
                <a:gd name="T13" fmla="*/ 174 h 1128"/>
                <a:gd name="T14" fmla="*/ 539 w 881"/>
                <a:gd name="T15" fmla="*/ 174 h 1128"/>
                <a:gd name="T16" fmla="*/ 539 w 881"/>
                <a:gd name="T17" fmla="*/ 1128 h 1128"/>
                <a:gd name="T18" fmla="*/ 341 w 881"/>
                <a:gd name="T1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1128">
                  <a:moveTo>
                    <a:pt x="341" y="1128"/>
                  </a:moveTo>
                  <a:lnTo>
                    <a:pt x="341" y="1128"/>
                  </a:lnTo>
                  <a:lnTo>
                    <a:pt x="341" y="174"/>
                  </a:lnTo>
                  <a:lnTo>
                    <a:pt x="0" y="174"/>
                  </a:lnTo>
                  <a:lnTo>
                    <a:pt x="0" y="0"/>
                  </a:lnTo>
                  <a:lnTo>
                    <a:pt x="881" y="0"/>
                  </a:lnTo>
                  <a:lnTo>
                    <a:pt x="881" y="174"/>
                  </a:lnTo>
                  <a:lnTo>
                    <a:pt x="539" y="174"/>
                  </a:lnTo>
                  <a:lnTo>
                    <a:pt x="539" y="1128"/>
                  </a:lnTo>
                  <a:lnTo>
                    <a:pt x="341"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1">
              <a:extLst>
                <a:ext uri="{FF2B5EF4-FFF2-40B4-BE49-F238E27FC236}">
                  <a16:creationId xmlns:a16="http://schemas.microsoft.com/office/drawing/2014/main" id="{8374B12E-30AC-2FCE-5299-7E635626FBB9}"/>
                </a:ext>
              </a:extLst>
            </p:cNvPr>
            <p:cNvSpPr>
              <a:spLocks noEditPoints="1"/>
            </p:cNvSpPr>
            <p:nvPr/>
          </p:nvSpPr>
          <p:spPr bwMode="auto">
            <a:xfrm>
              <a:off x="1165" y="539"/>
              <a:ext cx="126" cy="142"/>
            </a:xfrm>
            <a:custGeom>
              <a:avLst/>
              <a:gdLst>
                <a:gd name="T0" fmla="*/ 197 w 1009"/>
                <a:gd name="T1" fmla="*/ 954 h 1128"/>
                <a:gd name="T2" fmla="*/ 197 w 1009"/>
                <a:gd name="T3" fmla="*/ 954 h 1128"/>
                <a:gd name="T4" fmla="*/ 419 w 1009"/>
                <a:gd name="T5" fmla="*/ 954 h 1128"/>
                <a:gd name="T6" fmla="*/ 806 w 1009"/>
                <a:gd name="T7" fmla="*/ 565 h 1128"/>
                <a:gd name="T8" fmla="*/ 419 w 1009"/>
                <a:gd name="T9" fmla="*/ 174 h 1128"/>
                <a:gd name="T10" fmla="*/ 197 w 1009"/>
                <a:gd name="T11" fmla="*/ 174 h 1128"/>
                <a:gd name="T12" fmla="*/ 197 w 1009"/>
                <a:gd name="T13" fmla="*/ 954 h 1128"/>
                <a:gd name="T14" fmla="*/ 197 w 1009"/>
                <a:gd name="T15" fmla="*/ 954 h 1128"/>
                <a:gd name="T16" fmla="*/ 0 w 1009"/>
                <a:gd name="T17" fmla="*/ 1128 h 1128"/>
                <a:gd name="T18" fmla="*/ 0 w 1009"/>
                <a:gd name="T19" fmla="*/ 1128 h 1128"/>
                <a:gd name="T20" fmla="*/ 0 w 1009"/>
                <a:gd name="T21" fmla="*/ 0 h 1128"/>
                <a:gd name="T22" fmla="*/ 419 w 1009"/>
                <a:gd name="T23" fmla="*/ 0 h 1128"/>
                <a:gd name="T24" fmla="*/ 1009 w 1009"/>
                <a:gd name="T25" fmla="*/ 565 h 1128"/>
                <a:gd name="T26" fmla="*/ 419 w 1009"/>
                <a:gd name="T27" fmla="*/ 1128 h 1128"/>
                <a:gd name="T28" fmla="*/ 0 w 1009"/>
                <a:gd name="T29"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9" h="1128">
                  <a:moveTo>
                    <a:pt x="197" y="954"/>
                  </a:moveTo>
                  <a:lnTo>
                    <a:pt x="197" y="954"/>
                  </a:lnTo>
                  <a:lnTo>
                    <a:pt x="419" y="954"/>
                  </a:lnTo>
                  <a:cubicBezTo>
                    <a:pt x="664" y="954"/>
                    <a:pt x="806" y="778"/>
                    <a:pt x="806" y="565"/>
                  </a:cubicBezTo>
                  <a:cubicBezTo>
                    <a:pt x="806" y="347"/>
                    <a:pt x="671" y="174"/>
                    <a:pt x="419" y="174"/>
                  </a:cubicBezTo>
                  <a:lnTo>
                    <a:pt x="197" y="174"/>
                  </a:lnTo>
                  <a:lnTo>
                    <a:pt x="197" y="954"/>
                  </a:lnTo>
                  <a:lnTo>
                    <a:pt x="197" y="954"/>
                  </a:lnTo>
                  <a:close/>
                  <a:moveTo>
                    <a:pt x="0" y="1128"/>
                  </a:moveTo>
                  <a:lnTo>
                    <a:pt x="0" y="1128"/>
                  </a:lnTo>
                  <a:lnTo>
                    <a:pt x="0" y="0"/>
                  </a:lnTo>
                  <a:lnTo>
                    <a:pt x="419" y="0"/>
                  </a:lnTo>
                  <a:cubicBezTo>
                    <a:pt x="771" y="0"/>
                    <a:pt x="1009" y="233"/>
                    <a:pt x="1009" y="565"/>
                  </a:cubicBezTo>
                  <a:cubicBezTo>
                    <a:pt x="1009" y="896"/>
                    <a:pt x="771" y="1128"/>
                    <a:pt x="419" y="1128"/>
                  </a:cubicBez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2">
              <a:extLst>
                <a:ext uri="{FF2B5EF4-FFF2-40B4-BE49-F238E27FC236}">
                  <a16:creationId xmlns:a16="http://schemas.microsoft.com/office/drawing/2014/main" id="{47254CF5-BFB8-03D7-E51F-657F41025877}"/>
                </a:ext>
              </a:extLst>
            </p:cNvPr>
            <p:cNvSpPr>
              <a:spLocks/>
            </p:cNvSpPr>
            <p:nvPr/>
          </p:nvSpPr>
          <p:spPr bwMode="auto">
            <a:xfrm>
              <a:off x="1368" y="537"/>
              <a:ext cx="111" cy="147"/>
            </a:xfrm>
            <a:custGeom>
              <a:avLst/>
              <a:gdLst>
                <a:gd name="T0" fmla="*/ 102 w 886"/>
                <a:gd name="T1" fmla="*/ 834 h 1165"/>
                <a:gd name="T2" fmla="*/ 102 w 886"/>
                <a:gd name="T3" fmla="*/ 834 h 1165"/>
                <a:gd name="T4" fmla="*/ 459 w 886"/>
                <a:gd name="T5" fmla="*/ 989 h 1165"/>
                <a:gd name="T6" fmla="*/ 685 w 886"/>
                <a:gd name="T7" fmla="*/ 835 h 1165"/>
                <a:gd name="T8" fmla="*/ 428 w 886"/>
                <a:gd name="T9" fmla="*/ 668 h 1165"/>
                <a:gd name="T10" fmla="*/ 27 w 886"/>
                <a:gd name="T11" fmla="*/ 330 h 1165"/>
                <a:gd name="T12" fmla="*/ 438 w 886"/>
                <a:gd name="T13" fmla="*/ 0 h 1165"/>
                <a:gd name="T14" fmla="*/ 848 w 886"/>
                <a:gd name="T15" fmla="*/ 145 h 1165"/>
                <a:gd name="T16" fmla="*/ 748 w 886"/>
                <a:gd name="T17" fmla="*/ 304 h 1165"/>
                <a:gd name="T18" fmla="*/ 421 w 886"/>
                <a:gd name="T19" fmla="*/ 176 h 1165"/>
                <a:gd name="T20" fmla="*/ 230 w 886"/>
                <a:gd name="T21" fmla="*/ 316 h 1165"/>
                <a:gd name="T22" fmla="*/ 479 w 886"/>
                <a:gd name="T23" fmla="*/ 467 h 1165"/>
                <a:gd name="T24" fmla="*/ 886 w 886"/>
                <a:gd name="T25" fmla="*/ 817 h 1165"/>
                <a:gd name="T26" fmla="*/ 450 w 886"/>
                <a:gd name="T27" fmla="*/ 1165 h 1165"/>
                <a:gd name="T28" fmla="*/ 0 w 886"/>
                <a:gd name="T29" fmla="*/ 994 h 1165"/>
                <a:gd name="T30" fmla="*/ 102 w 886"/>
                <a:gd name="T31" fmla="*/ 83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6" h="1165">
                  <a:moveTo>
                    <a:pt x="102" y="834"/>
                  </a:moveTo>
                  <a:lnTo>
                    <a:pt x="102" y="834"/>
                  </a:lnTo>
                  <a:cubicBezTo>
                    <a:pt x="180" y="917"/>
                    <a:pt x="301" y="989"/>
                    <a:pt x="459" y="989"/>
                  </a:cubicBezTo>
                  <a:cubicBezTo>
                    <a:pt x="621" y="989"/>
                    <a:pt x="685" y="910"/>
                    <a:pt x="685" y="835"/>
                  </a:cubicBezTo>
                  <a:cubicBezTo>
                    <a:pt x="685" y="734"/>
                    <a:pt x="565" y="704"/>
                    <a:pt x="428" y="668"/>
                  </a:cubicBezTo>
                  <a:cubicBezTo>
                    <a:pt x="244" y="622"/>
                    <a:pt x="27" y="568"/>
                    <a:pt x="27" y="330"/>
                  </a:cubicBezTo>
                  <a:cubicBezTo>
                    <a:pt x="27" y="144"/>
                    <a:pt x="191" y="0"/>
                    <a:pt x="438" y="0"/>
                  </a:cubicBezTo>
                  <a:cubicBezTo>
                    <a:pt x="607" y="0"/>
                    <a:pt x="744" y="51"/>
                    <a:pt x="848" y="145"/>
                  </a:cubicBezTo>
                  <a:lnTo>
                    <a:pt x="748" y="304"/>
                  </a:lnTo>
                  <a:cubicBezTo>
                    <a:pt x="660" y="217"/>
                    <a:pt x="540" y="176"/>
                    <a:pt x="421" y="176"/>
                  </a:cubicBezTo>
                  <a:cubicBezTo>
                    <a:pt x="305" y="176"/>
                    <a:pt x="230" y="232"/>
                    <a:pt x="230" y="316"/>
                  </a:cubicBezTo>
                  <a:cubicBezTo>
                    <a:pt x="230" y="404"/>
                    <a:pt x="345" y="433"/>
                    <a:pt x="479" y="467"/>
                  </a:cubicBezTo>
                  <a:cubicBezTo>
                    <a:pt x="665" y="514"/>
                    <a:pt x="886" y="572"/>
                    <a:pt x="886" y="817"/>
                  </a:cubicBezTo>
                  <a:cubicBezTo>
                    <a:pt x="886" y="1005"/>
                    <a:pt x="754" y="1165"/>
                    <a:pt x="450" y="1165"/>
                  </a:cubicBezTo>
                  <a:cubicBezTo>
                    <a:pt x="247" y="1165"/>
                    <a:pt x="99" y="1096"/>
                    <a:pt x="0" y="994"/>
                  </a:cubicBezTo>
                  <a:lnTo>
                    <a:pt x="102" y="83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3">
              <a:extLst>
                <a:ext uri="{FF2B5EF4-FFF2-40B4-BE49-F238E27FC236}">
                  <a16:creationId xmlns:a16="http://schemas.microsoft.com/office/drawing/2014/main" id="{39BC55DE-71C4-9000-B7E9-AE277099BB40}"/>
                </a:ext>
              </a:extLst>
            </p:cNvPr>
            <p:cNvSpPr>
              <a:spLocks/>
            </p:cNvSpPr>
            <p:nvPr/>
          </p:nvSpPr>
          <p:spPr bwMode="auto">
            <a:xfrm>
              <a:off x="1485" y="539"/>
              <a:ext cx="134" cy="142"/>
            </a:xfrm>
            <a:custGeom>
              <a:avLst/>
              <a:gdLst>
                <a:gd name="T0" fmla="*/ 438 w 1072"/>
                <a:gd name="T1" fmla="*/ 1128 h 1128"/>
                <a:gd name="T2" fmla="*/ 438 w 1072"/>
                <a:gd name="T3" fmla="*/ 1128 h 1128"/>
                <a:gd name="T4" fmla="*/ 438 w 1072"/>
                <a:gd name="T5" fmla="*/ 659 h 1128"/>
                <a:gd name="T6" fmla="*/ 0 w 1072"/>
                <a:gd name="T7" fmla="*/ 0 h 1128"/>
                <a:gd name="T8" fmla="*/ 226 w 1072"/>
                <a:gd name="T9" fmla="*/ 0 h 1128"/>
                <a:gd name="T10" fmla="*/ 537 w 1072"/>
                <a:gd name="T11" fmla="*/ 484 h 1128"/>
                <a:gd name="T12" fmla="*/ 845 w 1072"/>
                <a:gd name="T13" fmla="*/ 0 h 1128"/>
                <a:gd name="T14" fmla="*/ 1072 w 1072"/>
                <a:gd name="T15" fmla="*/ 0 h 1128"/>
                <a:gd name="T16" fmla="*/ 636 w 1072"/>
                <a:gd name="T17" fmla="*/ 659 h 1128"/>
                <a:gd name="T18" fmla="*/ 636 w 1072"/>
                <a:gd name="T19" fmla="*/ 1128 h 1128"/>
                <a:gd name="T20" fmla="*/ 438 w 1072"/>
                <a:gd name="T21"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128">
                  <a:moveTo>
                    <a:pt x="438" y="1128"/>
                  </a:moveTo>
                  <a:lnTo>
                    <a:pt x="438" y="1128"/>
                  </a:lnTo>
                  <a:lnTo>
                    <a:pt x="438" y="659"/>
                  </a:lnTo>
                  <a:lnTo>
                    <a:pt x="0" y="0"/>
                  </a:lnTo>
                  <a:lnTo>
                    <a:pt x="226" y="0"/>
                  </a:lnTo>
                  <a:lnTo>
                    <a:pt x="537" y="484"/>
                  </a:lnTo>
                  <a:lnTo>
                    <a:pt x="845" y="0"/>
                  </a:lnTo>
                  <a:lnTo>
                    <a:pt x="1072" y="0"/>
                  </a:lnTo>
                  <a:lnTo>
                    <a:pt x="636" y="659"/>
                  </a:lnTo>
                  <a:lnTo>
                    <a:pt x="636" y="1128"/>
                  </a:lnTo>
                  <a:lnTo>
                    <a:pt x="438"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4">
              <a:extLst>
                <a:ext uri="{FF2B5EF4-FFF2-40B4-BE49-F238E27FC236}">
                  <a16:creationId xmlns:a16="http://schemas.microsoft.com/office/drawing/2014/main" id="{9B61C710-C4F5-6257-3C6A-7AADAA90E8E7}"/>
                </a:ext>
              </a:extLst>
            </p:cNvPr>
            <p:cNvSpPr>
              <a:spLocks/>
            </p:cNvSpPr>
            <p:nvPr/>
          </p:nvSpPr>
          <p:spPr bwMode="auto">
            <a:xfrm>
              <a:off x="1635" y="539"/>
              <a:ext cx="123" cy="142"/>
            </a:xfrm>
            <a:custGeom>
              <a:avLst/>
              <a:gdLst>
                <a:gd name="T0" fmla="*/ 786 w 977"/>
                <a:gd name="T1" fmla="*/ 1128 h 1128"/>
                <a:gd name="T2" fmla="*/ 786 w 977"/>
                <a:gd name="T3" fmla="*/ 1128 h 1128"/>
                <a:gd name="T4" fmla="*/ 198 w 977"/>
                <a:gd name="T5" fmla="*/ 306 h 1128"/>
                <a:gd name="T6" fmla="*/ 198 w 977"/>
                <a:gd name="T7" fmla="*/ 1128 h 1128"/>
                <a:gd name="T8" fmla="*/ 0 w 977"/>
                <a:gd name="T9" fmla="*/ 1128 h 1128"/>
                <a:gd name="T10" fmla="*/ 0 w 977"/>
                <a:gd name="T11" fmla="*/ 0 h 1128"/>
                <a:gd name="T12" fmla="*/ 203 w 977"/>
                <a:gd name="T13" fmla="*/ 0 h 1128"/>
                <a:gd name="T14" fmla="*/ 779 w 977"/>
                <a:gd name="T15" fmla="*/ 800 h 1128"/>
                <a:gd name="T16" fmla="*/ 779 w 977"/>
                <a:gd name="T17" fmla="*/ 0 h 1128"/>
                <a:gd name="T18" fmla="*/ 977 w 977"/>
                <a:gd name="T19" fmla="*/ 0 h 1128"/>
                <a:gd name="T20" fmla="*/ 977 w 977"/>
                <a:gd name="T21" fmla="*/ 1128 h 1128"/>
                <a:gd name="T22" fmla="*/ 786 w 977"/>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7" h="1128">
                  <a:moveTo>
                    <a:pt x="786" y="1128"/>
                  </a:moveTo>
                  <a:lnTo>
                    <a:pt x="786" y="1128"/>
                  </a:lnTo>
                  <a:lnTo>
                    <a:pt x="198" y="306"/>
                  </a:lnTo>
                  <a:lnTo>
                    <a:pt x="198" y="1128"/>
                  </a:lnTo>
                  <a:lnTo>
                    <a:pt x="0" y="1128"/>
                  </a:lnTo>
                  <a:lnTo>
                    <a:pt x="0" y="0"/>
                  </a:lnTo>
                  <a:lnTo>
                    <a:pt x="203" y="0"/>
                  </a:lnTo>
                  <a:lnTo>
                    <a:pt x="779" y="800"/>
                  </a:lnTo>
                  <a:lnTo>
                    <a:pt x="779" y="0"/>
                  </a:lnTo>
                  <a:lnTo>
                    <a:pt x="977" y="0"/>
                  </a:lnTo>
                  <a:lnTo>
                    <a:pt x="977" y="1128"/>
                  </a:lnTo>
                  <a:lnTo>
                    <a:pt x="786"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5">
              <a:extLst>
                <a:ext uri="{FF2B5EF4-FFF2-40B4-BE49-F238E27FC236}">
                  <a16:creationId xmlns:a16="http://schemas.microsoft.com/office/drawing/2014/main" id="{78A77033-D285-D6D3-3ED3-21BE6FC7BCA2}"/>
                </a:ext>
              </a:extLst>
            </p:cNvPr>
            <p:cNvSpPr>
              <a:spLocks/>
            </p:cNvSpPr>
            <p:nvPr/>
          </p:nvSpPr>
          <p:spPr bwMode="auto">
            <a:xfrm>
              <a:off x="1789" y="539"/>
              <a:ext cx="123" cy="142"/>
            </a:xfrm>
            <a:custGeom>
              <a:avLst/>
              <a:gdLst>
                <a:gd name="T0" fmla="*/ 787 w 978"/>
                <a:gd name="T1" fmla="*/ 1128 h 1128"/>
                <a:gd name="T2" fmla="*/ 787 w 978"/>
                <a:gd name="T3" fmla="*/ 1128 h 1128"/>
                <a:gd name="T4" fmla="*/ 198 w 978"/>
                <a:gd name="T5" fmla="*/ 306 h 1128"/>
                <a:gd name="T6" fmla="*/ 198 w 978"/>
                <a:gd name="T7" fmla="*/ 1128 h 1128"/>
                <a:gd name="T8" fmla="*/ 0 w 978"/>
                <a:gd name="T9" fmla="*/ 1128 h 1128"/>
                <a:gd name="T10" fmla="*/ 0 w 978"/>
                <a:gd name="T11" fmla="*/ 0 h 1128"/>
                <a:gd name="T12" fmla="*/ 203 w 978"/>
                <a:gd name="T13" fmla="*/ 0 h 1128"/>
                <a:gd name="T14" fmla="*/ 780 w 978"/>
                <a:gd name="T15" fmla="*/ 800 h 1128"/>
                <a:gd name="T16" fmla="*/ 780 w 978"/>
                <a:gd name="T17" fmla="*/ 0 h 1128"/>
                <a:gd name="T18" fmla="*/ 978 w 978"/>
                <a:gd name="T19" fmla="*/ 0 h 1128"/>
                <a:gd name="T20" fmla="*/ 978 w 978"/>
                <a:gd name="T21" fmla="*/ 1128 h 1128"/>
                <a:gd name="T22" fmla="*/ 787 w 978"/>
                <a:gd name="T23"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8" h="1128">
                  <a:moveTo>
                    <a:pt x="787" y="1128"/>
                  </a:moveTo>
                  <a:lnTo>
                    <a:pt x="787" y="1128"/>
                  </a:lnTo>
                  <a:lnTo>
                    <a:pt x="198" y="306"/>
                  </a:lnTo>
                  <a:lnTo>
                    <a:pt x="198" y="1128"/>
                  </a:lnTo>
                  <a:lnTo>
                    <a:pt x="0" y="1128"/>
                  </a:lnTo>
                  <a:lnTo>
                    <a:pt x="0" y="0"/>
                  </a:lnTo>
                  <a:lnTo>
                    <a:pt x="203" y="0"/>
                  </a:lnTo>
                  <a:lnTo>
                    <a:pt x="780" y="800"/>
                  </a:lnTo>
                  <a:lnTo>
                    <a:pt x="780" y="0"/>
                  </a:lnTo>
                  <a:lnTo>
                    <a:pt x="978" y="0"/>
                  </a:lnTo>
                  <a:lnTo>
                    <a:pt x="978" y="1128"/>
                  </a:lnTo>
                  <a:lnTo>
                    <a:pt x="787"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6">
              <a:extLst>
                <a:ext uri="{FF2B5EF4-FFF2-40B4-BE49-F238E27FC236}">
                  <a16:creationId xmlns:a16="http://schemas.microsoft.com/office/drawing/2014/main" id="{4E74F2F4-0E44-A4C1-4056-3D3517B38549}"/>
                </a:ext>
              </a:extLst>
            </p:cNvPr>
            <p:cNvSpPr>
              <a:spLocks/>
            </p:cNvSpPr>
            <p:nvPr/>
          </p:nvSpPr>
          <p:spPr bwMode="auto">
            <a:xfrm>
              <a:off x="1943" y="539"/>
              <a:ext cx="97" cy="142"/>
            </a:xfrm>
            <a:custGeom>
              <a:avLst/>
              <a:gdLst>
                <a:gd name="T0" fmla="*/ 0 w 773"/>
                <a:gd name="T1" fmla="*/ 1128 h 1128"/>
                <a:gd name="T2" fmla="*/ 0 w 773"/>
                <a:gd name="T3" fmla="*/ 1128 h 1128"/>
                <a:gd name="T4" fmla="*/ 0 w 773"/>
                <a:gd name="T5" fmla="*/ 0 h 1128"/>
                <a:gd name="T6" fmla="*/ 773 w 773"/>
                <a:gd name="T7" fmla="*/ 0 h 1128"/>
                <a:gd name="T8" fmla="*/ 773 w 773"/>
                <a:gd name="T9" fmla="*/ 174 h 1128"/>
                <a:gd name="T10" fmla="*/ 198 w 773"/>
                <a:gd name="T11" fmla="*/ 174 h 1128"/>
                <a:gd name="T12" fmla="*/ 198 w 773"/>
                <a:gd name="T13" fmla="*/ 467 h 1128"/>
                <a:gd name="T14" fmla="*/ 761 w 773"/>
                <a:gd name="T15" fmla="*/ 467 h 1128"/>
                <a:gd name="T16" fmla="*/ 761 w 773"/>
                <a:gd name="T17" fmla="*/ 641 h 1128"/>
                <a:gd name="T18" fmla="*/ 198 w 773"/>
                <a:gd name="T19" fmla="*/ 641 h 1128"/>
                <a:gd name="T20" fmla="*/ 198 w 773"/>
                <a:gd name="T21" fmla="*/ 954 h 1128"/>
                <a:gd name="T22" fmla="*/ 773 w 773"/>
                <a:gd name="T23" fmla="*/ 954 h 1128"/>
                <a:gd name="T24" fmla="*/ 773 w 773"/>
                <a:gd name="T25" fmla="*/ 1128 h 1128"/>
                <a:gd name="T26" fmla="*/ 0 w 773"/>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3" h="1128">
                  <a:moveTo>
                    <a:pt x="0" y="1128"/>
                  </a:moveTo>
                  <a:lnTo>
                    <a:pt x="0" y="1128"/>
                  </a:lnTo>
                  <a:lnTo>
                    <a:pt x="0" y="0"/>
                  </a:lnTo>
                  <a:lnTo>
                    <a:pt x="773" y="0"/>
                  </a:lnTo>
                  <a:lnTo>
                    <a:pt x="773" y="174"/>
                  </a:lnTo>
                  <a:lnTo>
                    <a:pt x="198" y="174"/>
                  </a:lnTo>
                  <a:lnTo>
                    <a:pt x="198" y="467"/>
                  </a:lnTo>
                  <a:lnTo>
                    <a:pt x="761" y="467"/>
                  </a:lnTo>
                  <a:lnTo>
                    <a:pt x="761" y="641"/>
                  </a:lnTo>
                  <a:lnTo>
                    <a:pt x="198" y="641"/>
                  </a:lnTo>
                  <a:lnTo>
                    <a:pt x="198" y="954"/>
                  </a:lnTo>
                  <a:lnTo>
                    <a:pt x="773" y="954"/>
                  </a:lnTo>
                  <a:lnTo>
                    <a:pt x="773" y="1128"/>
                  </a:lnTo>
                  <a:lnTo>
                    <a:pt x="0"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7">
              <a:extLst>
                <a:ext uri="{FF2B5EF4-FFF2-40B4-BE49-F238E27FC236}">
                  <a16:creationId xmlns:a16="http://schemas.microsoft.com/office/drawing/2014/main" id="{5CC6AD8A-5F3C-C44C-8F07-F745D9B39EC6}"/>
                </a:ext>
              </a:extLst>
            </p:cNvPr>
            <p:cNvSpPr>
              <a:spLocks/>
            </p:cNvSpPr>
            <p:nvPr/>
          </p:nvSpPr>
          <p:spPr bwMode="auto">
            <a:xfrm>
              <a:off x="2060" y="539"/>
              <a:ext cx="139" cy="142"/>
            </a:xfrm>
            <a:custGeom>
              <a:avLst/>
              <a:gdLst>
                <a:gd name="T0" fmla="*/ 869 w 1106"/>
                <a:gd name="T1" fmla="*/ 1128 h 1128"/>
                <a:gd name="T2" fmla="*/ 869 w 1106"/>
                <a:gd name="T3" fmla="*/ 1128 h 1128"/>
                <a:gd name="T4" fmla="*/ 553 w 1106"/>
                <a:gd name="T5" fmla="*/ 687 h 1128"/>
                <a:gd name="T6" fmla="*/ 237 w 1106"/>
                <a:gd name="T7" fmla="*/ 1128 h 1128"/>
                <a:gd name="T8" fmla="*/ 0 w 1106"/>
                <a:gd name="T9" fmla="*/ 1128 h 1128"/>
                <a:gd name="T10" fmla="*/ 423 w 1106"/>
                <a:gd name="T11" fmla="*/ 550 h 1128"/>
                <a:gd name="T12" fmla="*/ 25 w 1106"/>
                <a:gd name="T13" fmla="*/ 0 h 1128"/>
                <a:gd name="T14" fmla="*/ 262 w 1106"/>
                <a:gd name="T15" fmla="*/ 0 h 1128"/>
                <a:gd name="T16" fmla="*/ 553 w 1106"/>
                <a:gd name="T17" fmla="*/ 414 h 1128"/>
                <a:gd name="T18" fmla="*/ 842 w 1106"/>
                <a:gd name="T19" fmla="*/ 0 h 1128"/>
                <a:gd name="T20" fmla="*/ 1081 w 1106"/>
                <a:gd name="T21" fmla="*/ 0 h 1128"/>
                <a:gd name="T22" fmla="*/ 685 w 1106"/>
                <a:gd name="T23" fmla="*/ 548 h 1128"/>
                <a:gd name="T24" fmla="*/ 1106 w 1106"/>
                <a:gd name="T25" fmla="*/ 1128 h 1128"/>
                <a:gd name="T26" fmla="*/ 869 w 1106"/>
                <a:gd name="T27" fmla="*/ 112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6" h="1128">
                  <a:moveTo>
                    <a:pt x="869" y="1128"/>
                  </a:moveTo>
                  <a:lnTo>
                    <a:pt x="869" y="1128"/>
                  </a:lnTo>
                  <a:lnTo>
                    <a:pt x="553" y="687"/>
                  </a:lnTo>
                  <a:lnTo>
                    <a:pt x="237" y="1128"/>
                  </a:lnTo>
                  <a:lnTo>
                    <a:pt x="0" y="1128"/>
                  </a:lnTo>
                  <a:lnTo>
                    <a:pt x="423" y="550"/>
                  </a:lnTo>
                  <a:lnTo>
                    <a:pt x="25" y="0"/>
                  </a:lnTo>
                  <a:lnTo>
                    <a:pt x="262" y="0"/>
                  </a:lnTo>
                  <a:lnTo>
                    <a:pt x="553" y="414"/>
                  </a:lnTo>
                  <a:lnTo>
                    <a:pt x="842" y="0"/>
                  </a:lnTo>
                  <a:lnTo>
                    <a:pt x="1081" y="0"/>
                  </a:lnTo>
                  <a:lnTo>
                    <a:pt x="685" y="548"/>
                  </a:lnTo>
                  <a:lnTo>
                    <a:pt x="1106" y="1128"/>
                  </a:lnTo>
                  <a:lnTo>
                    <a:pt x="869" y="112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 name="TextBox 4">
            <a:extLst>
              <a:ext uri="{FF2B5EF4-FFF2-40B4-BE49-F238E27FC236}">
                <a16:creationId xmlns:a16="http://schemas.microsoft.com/office/drawing/2014/main" id="{CC7A2310-CEF2-14A8-C326-017D5595F998}"/>
              </a:ext>
            </a:extLst>
          </p:cNvPr>
          <p:cNvSpPr txBox="1"/>
          <p:nvPr/>
        </p:nvSpPr>
        <p:spPr>
          <a:xfrm>
            <a:off x="10558832" y="6401396"/>
            <a:ext cx="1626363" cy="338554"/>
          </a:xfrm>
          <a:prstGeom prst="rect">
            <a:avLst/>
          </a:prstGeom>
          <a:noFill/>
        </p:spPr>
        <p:txBody>
          <a:bodyPr wrap="square" rtlCol="0">
            <a:spAutoFit/>
          </a:bodyPr>
          <a:lstStyle/>
          <a:p>
            <a:pPr algn="ctr"/>
            <a:r>
              <a:rPr lang="cs-CZ" sz="1600" b="1" dirty="0">
                <a:latin typeface="Montserrat" panose="00000500000000000000" pitchFamily="2" charset="-18"/>
                <a:cs typeface="Arial" panose="020B0604020202020204" pitchFamily="34" charset="0"/>
              </a:rPr>
              <a:t>16.05.2023</a:t>
            </a:r>
            <a:endParaRPr lang="en-US" sz="1600" b="1" dirty="0">
              <a:latin typeface="Montserrat" panose="00000500000000000000" pitchFamily="2" charset="-18"/>
              <a:cs typeface="Arial" panose="020B0604020202020204" pitchFamily="34" charset="0"/>
            </a:endParaRPr>
          </a:p>
        </p:txBody>
      </p:sp>
      <p:sp>
        <p:nvSpPr>
          <p:cNvPr id="2" name="TextBox 1">
            <a:extLst>
              <a:ext uri="{FF2B5EF4-FFF2-40B4-BE49-F238E27FC236}">
                <a16:creationId xmlns:a16="http://schemas.microsoft.com/office/drawing/2014/main" id="{14BC0993-3C19-CF25-7A9B-F67680B86D16}"/>
              </a:ext>
            </a:extLst>
          </p:cNvPr>
          <p:cNvSpPr txBox="1"/>
          <p:nvPr/>
        </p:nvSpPr>
        <p:spPr>
          <a:xfrm>
            <a:off x="217893" y="6422071"/>
            <a:ext cx="3666129" cy="338554"/>
          </a:xfrm>
          <a:prstGeom prst="rect">
            <a:avLst/>
          </a:prstGeom>
          <a:noFill/>
        </p:spPr>
        <p:txBody>
          <a:bodyPr wrap="square" rtlCol="0">
            <a:spAutoFit/>
          </a:bodyPr>
          <a:lstStyle/>
          <a:p>
            <a:r>
              <a:rPr lang="en-US" sz="1600" i="1" dirty="0">
                <a:latin typeface="Montserrat" panose="00000500000000000000" pitchFamily="2" charset="-18"/>
              </a:rPr>
              <a:t>B</a:t>
            </a:r>
            <a:r>
              <a:rPr lang="cs-CZ" sz="1600" i="1" dirty="0" err="1">
                <a:latin typeface="Montserrat" panose="00000500000000000000" pitchFamily="2" charset="-18"/>
              </a:rPr>
              <a:t>usiness</a:t>
            </a:r>
            <a:r>
              <a:rPr lang="cs-CZ" sz="1600" i="1" dirty="0">
                <a:latin typeface="Montserrat" panose="00000500000000000000" pitchFamily="2" charset="-18"/>
              </a:rPr>
              <a:t> Development Manager</a:t>
            </a:r>
            <a:r>
              <a:rPr lang="en-US" sz="1600" i="1" dirty="0">
                <a:latin typeface="Montserrat" panose="00000500000000000000" pitchFamily="2" charset="-18"/>
              </a:rPr>
              <a:t> </a:t>
            </a:r>
          </a:p>
        </p:txBody>
      </p:sp>
      <p:sp>
        <p:nvSpPr>
          <p:cNvPr id="4" name="TextBox 3">
            <a:extLst>
              <a:ext uri="{FF2B5EF4-FFF2-40B4-BE49-F238E27FC236}">
                <a16:creationId xmlns:a16="http://schemas.microsoft.com/office/drawing/2014/main" id="{9E05436F-1FFA-A69D-B3CE-CBE23F7C14CE}"/>
              </a:ext>
            </a:extLst>
          </p:cNvPr>
          <p:cNvSpPr txBox="1"/>
          <p:nvPr/>
        </p:nvSpPr>
        <p:spPr>
          <a:xfrm>
            <a:off x="217894" y="6124574"/>
            <a:ext cx="3299801" cy="338554"/>
          </a:xfrm>
          <a:prstGeom prst="rect">
            <a:avLst/>
          </a:prstGeom>
          <a:noFill/>
        </p:spPr>
        <p:txBody>
          <a:bodyPr wrap="square" rtlCol="0">
            <a:spAutoFit/>
          </a:bodyPr>
          <a:lstStyle/>
          <a:p>
            <a:r>
              <a:rPr lang="cs-CZ" sz="1600" b="1" dirty="0">
                <a:latin typeface="Montserrat" panose="00000500000000000000" pitchFamily="2" charset="-18"/>
                <a:cs typeface="Arial" panose="020B0604020202020204" pitchFamily="34" charset="0"/>
              </a:rPr>
              <a:t>Kristína </a:t>
            </a:r>
            <a:r>
              <a:rPr lang="cs-CZ" sz="1600" b="1" dirty="0" err="1">
                <a:latin typeface="Montserrat" panose="00000500000000000000" pitchFamily="2" charset="-18"/>
                <a:cs typeface="Arial" panose="020B0604020202020204" pitchFamily="34" charset="0"/>
              </a:rPr>
              <a:t>Kyšová</a:t>
            </a:r>
            <a:endParaRPr lang="en-US" sz="1600" b="1" dirty="0">
              <a:latin typeface="Montserrat" panose="00000500000000000000" pitchFamily="2" charset="-18"/>
              <a:cs typeface="Arial" panose="020B0604020202020204" pitchFamily="34" charset="0"/>
            </a:endParaRPr>
          </a:p>
        </p:txBody>
      </p:sp>
    </p:spTree>
    <p:extLst>
      <p:ext uri="{BB962C8B-B14F-4D97-AF65-F5344CB8AC3E}">
        <p14:creationId xmlns:p14="http://schemas.microsoft.com/office/powerpoint/2010/main" val="1602448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030302E-9AEE-FF01-A8F9-C4CCBC78C762}"/>
              </a:ext>
            </a:extLst>
          </p:cNvPr>
          <p:cNvSpPr>
            <a:spLocks noGrp="1"/>
          </p:cNvSpPr>
          <p:nvPr>
            <p:ph type="dt" sz="half" idx="10"/>
          </p:nvPr>
        </p:nvSpPr>
        <p:spPr>
          <a:xfrm>
            <a:off x="838200" y="6356350"/>
            <a:ext cx="2743200" cy="365125"/>
          </a:xfrm>
        </p:spPr>
        <p:txBody>
          <a:bodyPr anchor="ctr">
            <a:normAutofit/>
          </a:bodyPr>
          <a:lstStyle/>
          <a:p>
            <a:pPr>
              <a:spcAft>
                <a:spcPts val="600"/>
              </a:spcAft>
            </a:pPr>
            <a:endParaRPr lang="en-US" dirty="0"/>
          </a:p>
        </p:txBody>
      </p:sp>
      <p:sp>
        <p:nvSpPr>
          <p:cNvPr id="12" name="Title 2">
            <a:extLst>
              <a:ext uri="{FF2B5EF4-FFF2-40B4-BE49-F238E27FC236}">
                <a16:creationId xmlns:a16="http://schemas.microsoft.com/office/drawing/2014/main" id="{B35C312C-7BFC-5FA4-08A8-C40D00C06922}"/>
              </a:ext>
            </a:extLst>
          </p:cNvPr>
          <p:cNvSpPr>
            <a:spLocks noGrp="1"/>
          </p:cNvSpPr>
          <p:nvPr>
            <p:ph type="title"/>
          </p:nvPr>
        </p:nvSpPr>
        <p:spPr>
          <a:xfrm>
            <a:off x="925284" y="553807"/>
            <a:ext cx="10515600" cy="1325563"/>
          </a:xfrm>
        </p:spPr>
        <p:txBody>
          <a:bodyPr>
            <a:normAutofit/>
          </a:bodyPr>
          <a:lstStyle/>
          <a:p>
            <a:r>
              <a:rPr lang="cs-CZ" dirty="0">
                <a:latin typeface="Montserrat" panose="00000500000000000000" pitchFamily="2" charset="-18"/>
              </a:rPr>
              <a:t>Jsme Vašim Partnerem</a:t>
            </a:r>
            <a:br>
              <a:rPr lang="cs-CZ" dirty="0">
                <a:latin typeface="Montserrat" panose="00000500000000000000" pitchFamily="2" charset="-18"/>
              </a:rPr>
            </a:br>
            <a:r>
              <a:rPr lang="cs-CZ" sz="2000" dirty="0">
                <a:latin typeface="Montserrat" panose="00000500000000000000" pitchFamily="2" charset="-18"/>
              </a:rPr>
              <a:t>15+ let zkušeností v oblasti kybernetické bezpečnosti – 8 členný tým</a:t>
            </a:r>
            <a:endParaRPr lang="en-US" sz="2000" dirty="0">
              <a:latin typeface="Montserrat" panose="00000500000000000000" pitchFamily="2" charset="-18"/>
            </a:endParaRPr>
          </a:p>
        </p:txBody>
      </p:sp>
      <p:graphicFrame>
        <p:nvGraphicFramePr>
          <p:cNvPr id="5" name="Google Shape;1086;p112">
            <a:extLst>
              <a:ext uri="{FF2B5EF4-FFF2-40B4-BE49-F238E27FC236}">
                <a16:creationId xmlns:a16="http://schemas.microsoft.com/office/drawing/2014/main" id="{31D93316-1738-76BA-A018-EE1348173CF3}"/>
              </a:ext>
            </a:extLst>
          </p:cNvPr>
          <p:cNvGraphicFramePr/>
          <p:nvPr>
            <p:extLst>
              <p:ext uri="{D42A27DB-BD31-4B8C-83A1-F6EECF244321}">
                <p14:modId xmlns:p14="http://schemas.microsoft.com/office/powerpoint/2010/main" val="3924297999"/>
              </p:ext>
            </p:extLst>
          </p:nvPr>
        </p:nvGraphicFramePr>
        <p:xfrm>
          <a:off x="217500" y="1876626"/>
          <a:ext cx="11757000" cy="3838200"/>
        </p:xfrm>
        <a:graphic>
          <a:graphicData uri="http://schemas.openxmlformats.org/drawingml/2006/table">
            <a:tbl>
              <a:tblPr>
                <a:noFill/>
              </a:tblPr>
              <a:tblGrid>
                <a:gridCol w="1959500">
                  <a:extLst>
                    <a:ext uri="{9D8B030D-6E8A-4147-A177-3AD203B41FA5}">
                      <a16:colId xmlns:a16="http://schemas.microsoft.com/office/drawing/2014/main" val="20000"/>
                    </a:ext>
                  </a:extLst>
                </a:gridCol>
                <a:gridCol w="1959500">
                  <a:extLst>
                    <a:ext uri="{9D8B030D-6E8A-4147-A177-3AD203B41FA5}">
                      <a16:colId xmlns:a16="http://schemas.microsoft.com/office/drawing/2014/main" val="20001"/>
                    </a:ext>
                  </a:extLst>
                </a:gridCol>
                <a:gridCol w="1959500">
                  <a:extLst>
                    <a:ext uri="{9D8B030D-6E8A-4147-A177-3AD203B41FA5}">
                      <a16:colId xmlns:a16="http://schemas.microsoft.com/office/drawing/2014/main" val="20002"/>
                    </a:ext>
                  </a:extLst>
                </a:gridCol>
                <a:gridCol w="1959500">
                  <a:extLst>
                    <a:ext uri="{9D8B030D-6E8A-4147-A177-3AD203B41FA5}">
                      <a16:colId xmlns:a16="http://schemas.microsoft.com/office/drawing/2014/main" val="20003"/>
                    </a:ext>
                  </a:extLst>
                </a:gridCol>
                <a:gridCol w="1959500">
                  <a:extLst>
                    <a:ext uri="{9D8B030D-6E8A-4147-A177-3AD203B41FA5}">
                      <a16:colId xmlns:a16="http://schemas.microsoft.com/office/drawing/2014/main" val="20004"/>
                    </a:ext>
                  </a:extLst>
                </a:gridCol>
                <a:gridCol w="1959500">
                  <a:extLst>
                    <a:ext uri="{9D8B030D-6E8A-4147-A177-3AD203B41FA5}">
                      <a16:colId xmlns:a16="http://schemas.microsoft.com/office/drawing/2014/main" val="20005"/>
                    </a:ext>
                  </a:extLst>
                </a:gridCol>
              </a:tblGrid>
              <a:tr h="1105200">
                <a:tc>
                  <a:txBody>
                    <a:bodyPr/>
                    <a:lstStyle/>
                    <a:p>
                      <a:pPr marL="0" lvl="0" indent="0" algn="ctr" rtl="0">
                        <a:spcBef>
                          <a:spcPts val="0"/>
                        </a:spcBef>
                        <a:spcAft>
                          <a:spcPts val="0"/>
                        </a:spcAft>
                        <a:buNone/>
                      </a:pPr>
                      <a:r>
                        <a:rPr lang="cs-CZ" sz="2000" b="1" dirty="0">
                          <a:solidFill>
                            <a:schemeClr val="tx2">
                              <a:lumMod val="60000"/>
                              <a:lumOff val="40000"/>
                            </a:schemeClr>
                          </a:solidFill>
                          <a:latin typeface="Montserrat"/>
                          <a:ea typeface="Montserrat"/>
                          <a:cs typeface="Montserrat"/>
                          <a:sym typeface="Montserrat"/>
                        </a:rPr>
                        <a:t>Produktová školení</a:t>
                      </a:r>
                      <a:endParaRPr sz="2000" b="1" dirty="0">
                        <a:solidFill>
                          <a:schemeClr val="tx2">
                            <a:lumMod val="60000"/>
                            <a:lumOff val="40000"/>
                          </a:schemeClr>
                        </a:solidFill>
                        <a:latin typeface="Montserrat"/>
                        <a:ea typeface="Montserrat"/>
                        <a:cs typeface="Montserrat"/>
                        <a:sym typeface="Montserrat"/>
                      </a:endParaRPr>
                    </a:p>
                  </a:txBody>
                  <a:tcPr marL="121900" marR="121900" marT="121900" marB="121900">
                    <a:lnL w="9525" cap="flat" cmpd="sng">
                      <a:solidFill>
                        <a:srgbClr val="9E9E9E">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cs-CZ" sz="2000" b="1" dirty="0">
                          <a:solidFill>
                            <a:schemeClr val="tx2">
                              <a:lumMod val="60000"/>
                              <a:lumOff val="40000"/>
                            </a:schemeClr>
                          </a:solidFill>
                          <a:latin typeface="Montserrat"/>
                          <a:ea typeface="Montserrat"/>
                          <a:cs typeface="Montserrat"/>
                          <a:sym typeface="Montserrat"/>
                        </a:rPr>
                        <a:t>Technická školení</a:t>
                      </a:r>
                      <a:endParaRPr sz="20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cs-CZ" sz="2000" b="1" dirty="0" err="1">
                          <a:solidFill>
                            <a:schemeClr val="tx2">
                              <a:lumMod val="60000"/>
                              <a:lumOff val="40000"/>
                            </a:schemeClr>
                          </a:solidFill>
                          <a:latin typeface="Montserrat"/>
                          <a:ea typeface="Montserrat"/>
                          <a:cs typeface="Montserrat"/>
                          <a:sym typeface="Montserrat"/>
                        </a:rPr>
                        <a:t>Pre</a:t>
                      </a:r>
                      <a:r>
                        <a:rPr lang="cs-CZ" sz="2000" b="1" dirty="0">
                          <a:solidFill>
                            <a:schemeClr val="tx2">
                              <a:lumMod val="60000"/>
                              <a:lumOff val="40000"/>
                            </a:schemeClr>
                          </a:solidFill>
                          <a:latin typeface="Montserrat"/>
                          <a:ea typeface="Montserrat"/>
                          <a:cs typeface="Montserrat"/>
                          <a:sym typeface="Montserrat"/>
                        </a:rPr>
                        <a:t> </a:t>
                      </a:r>
                      <a:r>
                        <a:rPr lang="cs-CZ" sz="2000" b="1" dirty="0" err="1">
                          <a:solidFill>
                            <a:schemeClr val="tx2">
                              <a:lumMod val="60000"/>
                              <a:lumOff val="40000"/>
                            </a:schemeClr>
                          </a:solidFill>
                          <a:latin typeface="Montserrat"/>
                          <a:ea typeface="Montserrat"/>
                          <a:cs typeface="Montserrat"/>
                          <a:sym typeface="Montserrat"/>
                        </a:rPr>
                        <a:t>sale</a:t>
                      </a:r>
                      <a:r>
                        <a:rPr lang="cs-CZ" sz="2000" b="1" dirty="0">
                          <a:solidFill>
                            <a:schemeClr val="tx2">
                              <a:lumMod val="60000"/>
                              <a:lumOff val="40000"/>
                            </a:schemeClr>
                          </a:solidFill>
                          <a:latin typeface="Montserrat"/>
                          <a:ea typeface="Montserrat"/>
                          <a:cs typeface="Montserrat"/>
                          <a:sym typeface="Montserrat"/>
                        </a:rPr>
                        <a:t> podpora</a:t>
                      </a:r>
                      <a:endParaRPr sz="20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cs-CZ" sz="2000" b="1" dirty="0">
                          <a:solidFill>
                            <a:schemeClr val="tx2">
                              <a:lumMod val="60000"/>
                              <a:lumOff val="40000"/>
                            </a:schemeClr>
                          </a:solidFill>
                          <a:latin typeface="Montserrat"/>
                          <a:ea typeface="Montserrat"/>
                          <a:cs typeface="Montserrat"/>
                          <a:sym typeface="Montserrat"/>
                        </a:rPr>
                        <a:t>Technická podpora</a:t>
                      </a:r>
                      <a:endParaRPr sz="20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cs-CZ" sz="2000" b="1" dirty="0">
                          <a:solidFill>
                            <a:schemeClr val="tx2">
                              <a:lumMod val="60000"/>
                              <a:lumOff val="40000"/>
                            </a:schemeClr>
                          </a:solidFill>
                          <a:latin typeface="Montserrat"/>
                          <a:ea typeface="Montserrat"/>
                          <a:cs typeface="Montserrat"/>
                          <a:sym typeface="Montserrat"/>
                        </a:rPr>
                        <a:t>Obchodní podpora</a:t>
                      </a:r>
                      <a:endParaRPr sz="20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cs-CZ" sz="1800" b="1" dirty="0">
                          <a:solidFill>
                            <a:schemeClr val="tx2">
                              <a:lumMod val="60000"/>
                              <a:lumOff val="40000"/>
                            </a:schemeClr>
                          </a:solidFill>
                          <a:latin typeface="Montserrat"/>
                          <a:ea typeface="Montserrat"/>
                          <a:cs typeface="Montserrat"/>
                          <a:sym typeface="Montserrat"/>
                        </a:rPr>
                        <a:t>Marketingová podpora</a:t>
                      </a:r>
                    </a:p>
                  </a:txBody>
                  <a:tcPr marL="121900" marR="121900" marT="121900" marB="121900">
                    <a:lnL w="76200" cap="flat" cmpd="sng">
                      <a:solidFill>
                        <a:schemeClr val="lt1"/>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extLst>
                  <a:ext uri="{0D108BD9-81ED-4DB2-BD59-A6C34878D82A}">
                    <a16:rowId xmlns:a16="http://schemas.microsoft.com/office/drawing/2014/main" val="10000"/>
                  </a:ext>
                </a:extLst>
              </a:tr>
              <a:tr h="2174200">
                <a:tc>
                  <a:txBody>
                    <a:bodyPr/>
                    <a:lstStyle/>
                    <a:p>
                      <a:pPr marL="0" lvl="0" indent="0" algn="ctr" rtl="0">
                        <a:spcBef>
                          <a:spcPts val="0"/>
                        </a:spcBef>
                        <a:spcAft>
                          <a:spcPts val="0"/>
                        </a:spcAft>
                        <a:buClr>
                          <a:schemeClr val="dk1"/>
                        </a:buClr>
                        <a:buSzPts val="1100"/>
                        <a:buFont typeface="Arial"/>
                        <a:buNone/>
                      </a:pPr>
                      <a:r>
                        <a:rPr lang="cs-CZ" sz="1300" dirty="0">
                          <a:latin typeface="Montserrat"/>
                          <a:ea typeface="Montserrat"/>
                          <a:cs typeface="Montserrat"/>
                          <a:sym typeface="Montserrat"/>
                        </a:rPr>
                        <a:t>1x měsíčně vybrané téma</a:t>
                      </a:r>
                      <a:endParaRPr sz="1300" dirty="0">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cs-CZ" sz="1300" dirty="0">
                          <a:latin typeface="Montserrat"/>
                          <a:ea typeface="Montserrat"/>
                          <a:cs typeface="Montserrat"/>
                          <a:sym typeface="Montserrat"/>
                        </a:rPr>
                        <a:t>Za obchodní certifikaci sladká odměna</a:t>
                      </a:r>
                    </a:p>
                    <a:p>
                      <a:pPr marL="0" lvl="0" indent="0" algn="ctr" rtl="0">
                        <a:spcBef>
                          <a:spcPts val="1000"/>
                        </a:spcBef>
                        <a:spcAft>
                          <a:spcPts val="1000"/>
                        </a:spcAft>
                        <a:buNone/>
                      </a:pPr>
                      <a:endParaRPr sz="1300" dirty="0">
                        <a:latin typeface="Montserrat"/>
                        <a:ea typeface="Montserrat"/>
                        <a:cs typeface="Montserrat"/>
                        <a:sym typeface="Montserrat"/>
                      </a:endParaRPr>
                    </a:p>
                  </a:txBody>
                  <a:tcPr marL="121900" marR="121900" marT="121900" marB="121900">
                    <a:lnL w="9525" cap="flat" cmpd="sng">
                      <a:solidFill>
                        <a:srgbClr val="9E9E9E">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1/Q partnerský seminář</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Příprava na PCNSA a PCNSE</a:t>
                      </a:r>
                    </a:p>
                    <a:p>
                      <a:pPr marL="0" marR="0" lvl="0" indent="0" algn="ctr" defTabSz="914400" rtl="0" eaLnBrk="1" fontAlgn="auto" latinLnBrk="0" hangingPunct="1">
                        <a:lnSpc>
                          <a:spcPct val="100000"/>
                        </a:lnSpc>
                        <a:spcBef>
                          <a:spcPts val="1000"/>
                        </a:spcBef>
                        <a:spcAft>
                          <a:spcPts val="0"/>
                        </a:spcAft>
                        <a:buClr>
                          <a:schemeClr val="dk1"/>
                        </a:buClr>
                        <a:buSzPts val="1100"/>
                        <a:buFont typeface="Arial"/>
                        <a:buNone/>
                        <a:tabLst/>
                        <a:defRPr/>
                      </a:pPr>
                      <a:r>
                        <a:rPr lang="cs-CZ" sz="1300" dirty="0">
                          <a:solidFill>
                            <a:schemeClr val="tx1"/>
                          </a:solidFill>
                          <a:latin typeface="Montserrat"/>
                          <a:ea typeface="Montserrat"/>
                          <a:cs typeface="Montserrat"/>
                          <a:sym typeface="Montserrat"/>
                        </a:rPr>
                        <a:t>Certifikovaná školení Palo Alto Networks</a:t>
                      </a:r>
                    </a:p>
                    <a:p>
                      <a:pPr marL="0" marR="0" lvl="0" indent="0" algn="ctr" defTabSz="914400" rtl="0" eaLnBrk="1" fontAlgn="auto" latinLnBrk="0" hangingPunct="1">
                        <a:lnSpc>
                          <a:spcPct val="100000"/>
                        </a:lnSpc>
                        <a:spcBef>
                          <a:spcPts val="1000"/>
                        </a:spcBef>
                        <a:spcAft>
                          <a:spcPts val="0"/>
                        </a:spcAft>
                        <a:buClr>
                          <a:schemeClr val="dk1"/>
                        </a:buClr>
                        <a:buSzPts val="1100"/>
                        <a:buFont typeface="Arial"/>
                        <a:buNone/>
                        <a:tabLst/>
                        <a:defRPr/>
                      </a:pPr>
                      <a:r>
                        <a:rPr lang="cs-CZ" sz="1300" dirty="0">
                          <a:solidFill>
                            <a:schemeClr val="tx1"/>
                          </a:solidFill>
                          <a:latin typeface="Montserrat"/>
                          <a:ea typeface="Montserrat"/>
                          <a:cs typeface="Montserrat"/>
                          <a:sym typeface="Montserrat"/>
                        </a:rPr>
                        <a:t>Autorizované certifikační centrum</a:t>
                      </a:r>
                    </a:p>
                    <a:p>
                      <a:pPr marL="0" lvl="0" indent="0" algn="ctr" rtl="0">
                        <a:spcBef>
                          <a:spcPts val="1000"/>
                        </a:spcBef>
                        <a:spcAft>
                          <a:spcPts val="0"/>
                        </a:spcAft>
                        <a:buClr>
                          <a:schemeClr val="dk1"/>
                        </a:buClr>
                        <a:buSzPts val="1100"/>
                        <a:buFont typeface="Arial"/>
                        <a:buNone/>
                      </a:pPr>
                      <a:endParaRPr sz="1300" dirty="0">
                        <a:solidFill>
                          <a:schemeClr val="tx1"/>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UTD, PSE, BPA, SLR, CTF, </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Aktivní realizace spolu s vámi</a:t>
                      </a: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Návody jak na to</a:t>
                      </a: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Lokální v českém jazyce</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Implementace s vámi</a:t>
                      </a:r>
                      <a:endParaRPr sz="1300" dirty="0">
                        <a:solidFill>
                          <a:schemeClr val="tx1"/>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Prezentace řešení u vašeho zákazníka</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Příprava podkladů k řešení</a:t>
                      </a: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Cenové podklady</a:t>
                      </a: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Realizace marketingových aktivit s vámi</a:t>
                      </a: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Aktivní účast a prezentace pro vaše zákazníky</a:t>
                      </a:r>
                    </a:p>
                    <a:p>
                      <a:pPr marL="0" lvl="0" indent="0" algn="ctr" rtl="0">
                        <a:spcBef>
                          <a:spcPts val="1000"/>
                        </a:spcBef>
                        <a:spcAft>
                          <a:spcPts val="0"/>
                        </a:spcAft>
                        <a:buClr>
                          <a:schemeClr val="dk1"/>
                        </a:buClr>
                        <a:buSzPts val="1100"/>
                        <a:buFont typeface="Arial"/>
                        <a:buNone/>
                      </a:pPr>
                      <a:r>
                        <a:rPr lang="cs-CZ" sz="1300" dirty="0">
                          <a:solidFill>
                            <a:schemeClr val="tx1"/>
                          </a:solidFill>
                          <a:latin typeface="Montserrat"/>
                          <a:ea typeface="Montserrat"/>
                          <a:cs typeface="Montserrat"/>
                          <a:sym typeface="Montserrat"/>
                        </a:rPr>
                        <a:t>Finanční spoluúčast</a:t>
                      </a:r>
                    </a:p>
                  </a:txBody>
                  <a:tcPr marL="121900" marR="121900" marT="121900" marB="121900">
                    <a:lnL w="76200" cap="flat" cmpd="sng">
                      <a:solidFill>
                        <a:schemeClr val="lt1"/>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962793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BCE4D-FAEA-0720-B54A-4F8AD8D1391B}"/>
              </a:ext>
            </a:extLst>
          </p:cNvPr>
          <p:cNvSpPr>
            <a:spLocks noGrp="1"/>
          </p:cNvSpPr>
          <p:nvPr>
            <p:ph type="title"/>
          </p:nvPr>
        </p:nvSpPr>
        <p:spPr>
          <a:xfrm>
            <a:off x="925284" y="553807"/>
            <a:ext cx="10515600" cy="1325563"/>
          </a:xfrm>
        </p:spPr>
        <p:txBody>
          <a:bodyPr anchor="ctr">
            <a:normAutofit/>
          </a:bodyPr>
          <a:lstStyle/>
          <a:p>
            <a:r>
              <a:rPr lang="cs-CZ" dirty="0"/>
              <a:t>Děkuji za pozornost</a:t>
            </a:r>
            <a:endParaRPr lang="en-US" dirty="0"/>
          </a:p>
        </p:txBody>
      </p:sp>
      <p:graphicFrame>
        <p:nvGraphicFramePr>
          <p:cNvPr id="33" name="Content Placeholder 2">
            <a:extLst>
              <a:ext uri="{FF2B5EF4-FFF2-40B4-BE49-F238E27FC236}">
                <a16:creationId xmlns:a16="http://schemas.microsoft.com/office/drawing/2014/main" id="{6F106925-1740-3A5C-6E3C-AFB0B1394912}"/>
              </a:ext>
            </a:extLst>
          </p:cNvPr>
          <p:cNvGraphicFramePr>
            <a:graphicFrameLocks noGrp="1"/>
          </p:cNvGraphicFramePr>
          <p:nvPr>
            <p:ph idx="1"/>
            <p:extLst>
              <p:ext uri="{D42A27DB-BD31-4B8C-83A1-F6EECF244321}">
                <p14:modId xmlns:p14="http://schemas.microsoft.com/office/powerpoint/2010/main" val="3731466431"/>
              </p:ext>
            </p:extLst>
          </p:nvPr>
        </p:nvGraphicFramePr>
        <p:xfrm>
          <a:off x="925513" y="1825625"/>
          <a:ext cx="10428287"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Date Placeholder 2">
            <a:extLst>
              <a:ext uri="{FF2B5EF4-FFF2-40B4-BE49-F238E27FC236}">
                <a16:creationId xmlns:a16="http://schemas.microsoft.com/office/drawing/2014/main" id="{B1F4FA90-421A-D03A-BD74-6AB0325FBA13}"/>
              </a:ext>
            </a:extLst>
          </p:cNvPr>
          <p:cNvSpPr>
            <a:spLocks noGrp="1"/>
          </p:cNvSpPr>
          <p:nvPr>
            <p:ph type="dt" sz="half" idx="10"/>
          </p:nvPr>
        </p:nvSpPr>
        <p:spPr/>
        <p:txBody>
          <a:bodyPr/>
          <a:lstStyle/>
          <a:p>
            <a:fld id="{D67CE94C-AD72-40D1-B278-87AFE77B75B7}" type="datetime1">
              <a:rPr lang="cs-CZ" smtClean="0"/>
              <a:t>16.05.2023</a:t>
            </a:fld>
            <a:endParaRPr lang="en-US"/>
          </a:p>
        </p:txBody>
      </p:sp>
    </p:spTree>
    <p:extLst>
      <p:ext uri="{BB962C8B-B14F-4D97-AF65-F5344CB8AC3E}">
        <p14:creationId xmlns:p14="http://schemas.microsoft.com/office/powerpoint/2010/main" val="155028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030302E-9AEE-FF01-A8F9-C4CCBC78C762}"/>
              </a:ext>
            </a:extLst>
          </p:cNvPr>
          <p:cNvSpPr>
            <a:spLocks noGrp="1"/>
          </p:cNvSpPr>
          <p:nvPr>
            <p:ph type="dt" sz="half" idx="10"/>
          </p:nvPr>
        </p:nvSpPr>
        <p:spPr>
          <a:xfrm>
            <a:off x="838200" y="6356350"/>
            <a:ext cx="2743200" cy="365125"/>
          </a:xfrm>
        </p:spPr>
        <p:txBody>
          <a:bodyPr anchor="ctr">
            <a:normAutofit/>
          </a:bodyPr>
          <a:lstStyle/>
          <a:p>
            <a:pPr>
              <a:spcAft>
                <a:spcPts val="600"/>
              </a:spcAft>
            </a:pPr>
            <a:endParaRPr lang="en-US" dirty="0"/>
          </a:p>
        </p:txBody>
      </p:sp>
      <p:sp>
        <p:nvSpPr>
          <p:cNvPr id="12" name="Title 2">
            <a:extLst>
              <a:ext uri="{FF2B5EF4-FFF2-40B4-BE49-F238E27FC236}">
                <a16:creationId xmlns:a16="http://schemas.microsoft.com/office/drawing/2014/main" id="{B35C312C-7BFC-5FA4-08A8-C40D00C06922}"/>
              </a:ext>
            </a:extLst>
          </p:cNvPr>
          <p:cNvSpPr>
            <a:spLocks noGrp="1"/>
          </p:cNvSpPr>
          <p:nvPr>
            <p:ph type="title"/>
          </p:nvPr>
        </p:nvSpPr>
        <p:spPr>
          <a:xfrm>
            <a:off x="925284" y="553807"/>
            <a:ext cx="10515600" cy="1325563"/>
          </a:xfrm>
        </p:spPr>
        <p:txBody>
          <a:bodyPr/>
          <a:lstStyle/>
          <a:p>
            <a:r>
              <a:rPr lang="cs-CZ" dirty="0">
                <a:latin typeface="Montserrat" panose="00000500000000000000" pitchFamily="2" charset="-18"/>
              </a:rPr>
              <a:t>Partnerské úrovně</a:t>
            </a:r>
            <a:endParaRPr lang="en-US" dirty="0">
              <a:latin typeface="Montserrat" panose="00000500000000000000" pitchFamily="2" charset="-18"/>
            </a:endParaRPr>
          </a:p>
        </p:txBody>
      </p:sp>
      <p:pic>
        <p:nvPicPr>
          <p:cNvPr id="7" name="Content Placeholder 6">
            <a:extLst>
              <a:ext uri="{FF2B5EF4-FFF2-40B4-BE49-F238E27FC236}">
                <a16:creationId xmlns:a16="http://schemas.microsoft.com/office/drawing/2014/main" id="{510C81CC-76C3-F8F9-C3FB-D586A90C150F}"/>
              </a:ext>
            </a:extLst>
          </p:cNvPr>
          <p:cNvPicPr>
            <a:picLocks noGrp="1" noChangeAspect="1"/>
          </p:cNvPicPr>
          <p:nvPr>
            <p:ph idx="1"/>
          </p:nvPr>
        </p:nvPicPr>
        <p:blipFill>
          <a:blip r:embed="rId2"/>
          <a:stretch>
            <a:fillRect/>
          </a:stretch>
        </p:blipFill>
        <p:spPr>
          <a:xfrm>
            <a:off x="925284" y="1954697"/>
            <a:ext cx="10428516" cy="4093193"/>
          </a:xfrm>
          <a:noFill/>
        </p:spPr>
      </p:pic>
    </p:spTree>
    <p:extLst>
      <p:ext uri="{BB962C8B-B14F-4D97-AF65-F5344CB8AC3E}">
        <p14:creationId xmlns:p14="http://schemas.microsoft.com/office/powerpoint/2010/main" val="3447336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CC56E6E4-63CC-2A85-9DB4-BF704198D346}"/>
              </a:ext>
            </a:extLst>
          </p:cNvPr>
          <p:cNvPicPr>
            <a:picLocks noGrp="1" noChangeAspect="1"/>
          </p:cNvPicPr>
          <p:nvPr>
            <p:ph type="pic" sz="quarter" idx="10"/>
          </p:nvPr>
        </p:nvPicPr>
        <p:blipFill>
          <a:blip r:embed="rId2"/>
          <a:stretch/>
        </p:blipFill>
        <p:spPr>
          <a:xfrm>
            <a:off x="0" y="259079"/>
            <a:ext cx="12192000" cy="6339841"/>
          </a:xfrm>
          <a:noFill/>
        </p:spPr>
      </p:pic>
      <p:sp>
        <p:nvSpPr>
          <p:cNvPr id="4" name="Date Placeholder 3" hidden="1">
            <a:extLst>
              <a:ext uri="{FF2B5EF4-FFF2-40B4-BE49-F238E27FC236}">
                <a16:creationId xmlns:a16="http://schemas.microsoft.com/office/drawing/2014/main" id="{7F49BBBD-B95E-E553-9FAD-901C5F9CF0C0}"/>
              </a:ext>
            </a:extLst>
          </p:cNvPr>
          <p:cNvSpPr>
            <a:spLocks noGrp="1"/>
          </p:cNvSpPr>
          <p:nvPr>
            <p:ph type="dt" sz="half" idx="4294967295"/>
          </p:nvPr>
        </p:nvSpPr>
        <p:spPr>
          <a:xfrm>
            <a:off x="838200" y="6356350"/>
            <a:ext cx="2743200" cy="365125"/>
          </a:xfrm>
        </p:spPr>
        <p:txBody>
          <a:bodyPr/>
          <a:lstStyle/>
          <a:p>
            <a:pPr>
              <a:spcAft>
                <a:spcPts val="600"/>
              </a:spcAft>
            </a:pPr>
            <a:fld id="{28633B14-648D-43C0-B078-3EB26C5058D1}" type="datetime1">
              <a:rPr lang="cs-CZ" smtClean="0"/>
              <a:pPr>
                <a:spcAft>
                  <a:spcPts val="600"/>
                </a:spcAft>
              </a:pPr>
              <a:t>16.05.2023</a:t>
            </a:fld>
            <a:endParaRPr lang="en-US"/>
          </a:p>
        </p:txBody>
      </p:sp>
    </p:spTree>
    <p:extLst>
      <p:ext uri="{BB962C8B-B14F-4D97-AF65-F5344CB8AC3E}">
        <p14:creationId xmlns:p14="http://schemas.microsoft.com/office/powerpoint/2010/main" val="29536363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sp>
        <p:nvSpPr>
          <p:cNvPr id="689" name="Google Shape;689;p99"/>
          <p:cNvSpPr/>
          <p:nvPr/>
        </p:nvSpPr>
        <p:spPr>
          <a:xfrm>
            <a:off x="1246293" y="-1449"/>
            <a:ext cx="10945600" cy="6497600"/>
          </a:xfrm>
          <a:prstGeom prst="rect">
            <a:avLst/>
          </a:prstGeom>
          <a:solidFill>
            <a:schemeClr val="lt2"/>
          </a:solidFill>
          <a:ln>
            <a:noFill/>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690" name="Google Shape;690;p99"/>
          <p:cNvSpPr/>
          <p:nvPr/>
        </p:nvSpPr>
        <p:spPr>
          <a:xfrm>
            <a:off x="1826800" y="992867"/>
            <a:ext cx="9842000" cy="4892800"/>
          </a:xfrm>
          <a:prstGeom prst="roundRect">
            <a:avLst>
              <a:gd name="adj" fmla="val 10801"/>
            </a:avLst>
          </a:prstGeom>
          <a:solidFill>
            <a:schemeClr val="lt1"/>
          </a:solidFill>
          <a:ln>
            <a:noFill/>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pic>
        <p:nvPicPr>
          <p:cNvPr id="691" name="Google Shape;691;p99"/>
          <p:cNvPicPr preferRelativeResize="0"/>
          <p:nvPr/>
        </p:nvPicPr>
        <p:blipFill rotWithShape="1">
          <a:blip r:embed="rId3">
            <a:alphaModFix/>
          </a:blip>
          <a:srcRect l="216" r="25123"/>
          <a:stretch/>
        </p:blipFill>
        <p:spPr>
          <a:xfrm>
            <a:off x="129325" y="0"/>
            <a:ext cx="8645351" cy="6497483"/>
          </a:xfrm>
          <a:prstGeom prst="rect">
            <a:avLst/>
          </a:prstGeom>
          <a:noFill/>
          <a:ln>
            <a:noFill/>
          </a:ln>
        </p:spPr>
      </p:pic>
      <p:pic>
        <p:nvPicPr>
          <p:cNvPr id="692" name="Google Shape;692;p99"/>
          <p:cNvPicPr preferRelativeResize="0"/>
          <p:nvPr/>
        </p:nvPicPr>
        <p:blipFill rotWithShape="1">
          <a:blip r:embed="rId4">
            <a:alphaModFix/>
          </a:blip>
          <a:srcRect l="216" r="25123"/>
          <a:stretch/>
        </p:blipFill>
        <p:spPr>
          <a:xfrm>
            <a:off x="1" y="0"/>
            <a:ext cx="8645351" cy="6497483"/>
          </a:xfrm>
          <a:prstGeom prst="rect">
            <a:avLst/>
          </a:prstGeom>
          <a:noFill/>
          <a:ln>
            <a:noFill/>
          </a:ln>
        </p:spPr>
      </p:pic>
      <p:sp>
        <p:nvSpPr>
          <p:cNvPr id="693" name="Google Shape;693;p99"/>
          <p:cNvSpPr txBox="1">
            <a:spLocks noGrp="1"/>
          </p:cNvSpPr>
          <p:nvPr>
            <p:ph type="sldNum" idx="12"/>
          </p:nvPr>
        </p:nvSpPr>
        <p:spPr>
          <a:xfrm>
            <a:off x="415600" y="6496033"/>
            <a:ext cx="3151200" cy="362000"/>
          </a:xfrm>
          <a:prstGeom prst="rect">
            <a:avLst/>
          </a:prstGeom>
          <a:noFill/>
          <a:ln>
            <a:noFill/>
          </a:ln>
        </p:spPr>
        <p:txBody>
          <a:bodyPr spcFirstLastPara="1" vert="horz" wrap="square" lIns="121900" tIns="121900" rIns="121900" bIns="121900" rtlCol="0" anchor="ctr" anchorCtr="0">
            <a:noAutofit/>
          </a:bodyPr>
          <a:lstStyle/>
          <a:p>
            <a:endParaRPr dirty="0"/>
          </a:p>
        </p:txBody>
      </p:sp>
      <p:sp>
        <p:nvSpPr>
          <p:cNvPr id="694" name="Google Shape;694;p99"/>
          <p:cNvSpPr txBox="1"/>
          <p:nvPr/>
        </p:nvSpPr>
        <p:spPr>
          <a:xfrm>
            <a:off x="6687531" y="4614293"/>
            <a:ext cx="4523600" cy="553943"/>
          </a:xfrm>
          <a:prstGeom prst="rect">
            <a:avLst/>
          </a:prstGeom>
          <a:noFill/>
          <a:ln>
            <a:noFill/>
          </a:ln>
        </p:spPr>
        <p:txBody>
          <a:bodyPr spcFirstLastPara="1" wrap="square" lIns="121900" tIns="60933" rIns="121900" bIns="60933" anchor="t" anchorCtr="0">
            <a:spAutoFit/>
          </a:bodyPr>
          <a:lstStyle/>
          <a:p>
            <a:pPr algn="ctr"/>
            <a:r>
              <a:rPr lang="en" sz="2800" b="1">
                <a:solidFill>
                  <a:schemeClr val="dk1"/>
                </a:solidFill>
                <a:latin typeface="Montserrat"/>
                <a:ea typeface="Montserrat"/>
                <a:cs typeface="Montserrat"/>
                <a:sym typeface="Montserrat"/>
              </a:rPr>
              <a:t>Product Expertise</a:t>
            </a:r>
            <a:endParaRPr sz="2800" b="1">
              <a:solidFill>
                <a:schemeClr val="dk1"/>
              </a:solidFill>
              <a:latin typeface="Montserrat Medium"/>
              <a:ea typeface="Montserrat Medium"/>
              <a:cs typeface="Montserrat Medium"/>
              <a:sym typeface="Montserrat Medium"/>
            </a:endParaRPr>
          </a:p>
        </p:txBody>
      </p:sp>
      <p:grpSp>
        <p:nvGrpSpPr>
          <p:cNvPr id="695" name="Google Shape;695;p99"/>
          <p:cNvGrpSpPr/>
          <p:nvPr/>
        </p:nvGrpSpPr>
        <p:grpSpPr>
          <a:xfrm>
            <a:off x="1826815" y="55762"/>
            <a:ext cx="4136619" cy="4793991"/>
            <a:chOff x="1730688" y="159375"/>
            <a:chExt cx="3143009" cy="3642481"/>
          </a:xfrm>
        </p:grpSpPr>
        <p:pic>
          <p:nvPicPr>
            <p:cNvPr id="696" name="Google Shape;696;p99"/>
            <p:cNvPicPr preferRelativeResize="0"/>
            <p:nvPr/>
          </p:nvPicPr>
          <p:blipFill rotWithShape="1">
            <a:blip r:embed="rId5">
              <a:alphaModFix/>
            </a:blip>
            <a:srcRect/>
            <a:stretch/>
          </p:blipFill>
          <p:spPr>
            <a:xfrm>
              <a:off x="3378564" y="159375"/>
              <a:ext cx="1495133" cy="1413580"/>
            </a:xfrm>
            <a:prstGeom prst="rect">
              <a:avLst/>
            </a:prstGeom>
            <a:noFill/>
            <a:ln>
              <a:noFill/>
            </a:ln>
          </p:spPr>
        </p:pic>
        <p:pic>
          <p:nvPicPr>
            <p:cNvPr id="697" name="Google Shape;697;p99"/>
            <p:cNvPicPr preferRelativeResize="0"/>
            <p:nvPr/>
          </p:nvPicPr>
          <p:blipFill rotWithShape="1">
            <a:blip r:embed="rId6">
              <a:alphaModFix/>
            </a:blip>
            <a:srcRect/>
            <a:stretch/>
          </p:blipFill>
          <p:spPr>
            <a:xfrm>
              <a:off x="1730688" y="2388276"/>
              <a:ext cx="1495133" cy="1413580"/>
            </a:xfrm>
            <a:prstGeom prst="rect">
              <a:avLst/>
            </a:prstGeom>
            <a:noFill/>
            <a:ln>
              <a:noFill/>
            </a:ln>
          </p:spPr>
        </p:pic>
        <p:pic>
          <p:nvPicPr>
            <p:cNvPr id="698" name="Google Shape;698;p99"/>
            <p:cNvPicPr preferRelativeResize="0"/>
            <p:nvPr/>
          </p:nvPicPr>
          <p:blipFill rotWithShape="1">
            <a:blip r:embed="rId7">
              <a:alphaModFix/>
            </a:blip>
            <a:srcRect/>
            <a:stretch/>
          </p:blipFill>
          <p:spPr>
            <a:xfrm>
              <a:off x="2554626" y="1258095"/>
              <a:ext cx="1495133" cy="1413580"/>
            </a:xfrm>
            <a:prstGeom prst="rect">
              <a:avLst/>
            </a:prstGeom>
            <a:noFill/>
            <a:ln>
              <a:noFill/>
            </a:ln>
          </p:spPr>
        </p:pic>
      </p:grpSp>
      <p:sp>
        <p:nvSpPr>
          <p:cNvPr id="699" name="Google Shape;699;p99"/>
          <p:cNvSpPr txBox="1"/>
          <p:nvPr/>
        </p:nvSpPr>
        <p:spPr>
          <a:xfrm>
            <a:off x="415599" y="249607"/>
            <a:ext cx="3206800" cy="800800"/>
          </a:xfrm>
          <a:prstGeom prst="rect">
            <a:avLst/>
          </a:prstGeom>
          <a:noFill/>
          <a:ln>
            <a:noFill/>
          </a:ln>
        </p:spPr>
        <p:txBody>
          <a:bodyPr spcFirstLastPara="1" wrap="square" lIns="0" tIns="121900" rIns="121900" bIns="121900" anchor="t" anchorCtr="0">
            <a:noAutofit/>
          </a:bodyPr>
          <a:lstStyle/>
          <a:p>
            <a:pPr>
              <a:buClr>
                <a:srgbClr val="000000"/>
              </a:buClr>
              <a:buSzPts val="1800"/>
            </a:pPr>
            <a:r>
              <a:rPr lang="en" sz="3200" b="1">
                <a:solidFill>
                  <a:schemeClr val="lt1"/>
                </a:solidFill>
                <a:latin typeface="Montserrat"/>
                <a:ea typeface="Montserrat"/>
                <a:cs typeface="Montserrat"/>
                <a:sym typeface="Montserrat"/>
              </a:rPr>
              <a:t>NextWave Program Framework</a:t>
            </a:r>
            <a:endParaRPr sz="2400"/>
          </a:p>
        </p:txBody>
      </p:sp>
      <p:sp>
        <p:nvSpPr>
          <p:cNvPr id="700" name="Google Shape;700;p99"/>
          <p:cNvSpPr txBox="1"/>
          <p:nvPr/>
        </p:nvSpPr>
        <p:spPr>
          <a:xfrm>
            <a:off x="-1579659" y="2247570"/>
            <a:ext cx="246400" cy="410379"/>
          </a:xfrm>
          <a:prstGeom prst="rect">
            <a:avLst/>
          </a:prstGeom>
          <a:noFill/>
          <a:ln>
            <a:noFill/>
          </a:ln>
        </p:spPr>
        <p:txBody>
          <a:bodyPr spcFirstLastPara="1" wrap="square" lIns="121900" tIns="60933" rIns="121900" bIns="60933" anchor="t" anchorCtr="0">
            <a:spAutoFit/>
          </a:bodyPr>
          <a:lstStyle/>
          <a:p>
            <a:endParaRPr sz="1867">
              <a:solidFill>
                <a:srgbClr val="000000"/>
              </a:solidFill>
              <a:latin typeface="Arial"/>
              <a:ea typeface="Arial"/>
              <a:cs typeface="Arial"/>
              <a:sym typeface="Arial"/>
            </a:endParaRPr>
          </a:p>
        </p:txBody>
      </p:sp>
      <p:sp>
        <p:nvSpPr>
          <p:cNvPr id="701" name="Google Shape;701;p99"/>
          <p:cNvSpPr txBox="1"/>
          <p:nvPr/>
        </p:nvSpPr>
        <p:spPr>
          <a:xfrm rot="-3307723">
            <a:off x="2903262" y="3119562"/>
            <a:ext cx="4229933" cy="553943"/>
          </a:xfrm>
          <a:prstGeom prst="rect">
            <a:avLst/>
          </a:prstGeom>
          <a:noFill/>
          <a:ln>
            <a:noFill/>
          </a:ln>
        </p:spPr>
        <p:txBody>
          <a:bodyPr spcFirstLastPara="1" wrap="square" lIns="121900" tIns="60933" rIns="121900" bIns="60933" anchor="t" anchorCtr="0">
            <a:spAutoFit/>
          </a:bodyPr>
          <a:lstStyle/>
          <a:p>
            <a:r>
              <a:rPr lang="en" sz="2800" b="1">
                <a:solidFill>
                  <a:schemeClr val="dk1"/>
                </a:solidFill>
                <a:latin typeface="Montserrat"/>
                <a:ea typeface="Montserrat"/>
                <a:cs typeface="Montserrat"/>
                <a:sym typeface="Montserrat"/>
              </a:rPr>
              <a:t>Portfolio Knowledge</a:t>
            </a:r>
            <a:endParaRPr sz="2800">
              <a:latin typeface="Montserrat"/>
              <a:ea typeface="Montserrat"/>
              <a:cs typeface="Montserrat"/>
              <a:sym typeface="Montserrat"/>
            </a:endParaRPr>
          </a:p>
        </p:txBody>
      </p:sp>
      <p:cxnSp>
        <p:nvCxnSpPr>
          <p:cNvPr id="702" name="Google Shape;702;p99"/>
          <p:cNvCxnSpPr/>
          <p:nvPr/>
        </p:nvCxnSpPr>
        <p:spPr>
          <a:xfrm>
            <a:off x="6682911" y="4583591"/>
            <a:ext cx="4532800" cy="0"/>
          </a:xfrm>
          <a:prstGeom prst="straightConnector1">
            <a:avLst/>
          </a:prstGeom>
          <a:noFill/>
          <a:ln w="28575" cap="flat" cmpd="sng">
            <a:solidFill>
              <a:srgbClr val="F95225"/>
            </a:solidFill>
            <a:prstDash val="solid"/>
            <a:round/>
            <a:headEnd type="none" w="med" len="med"/>
            <a:tailEnd type="none" w="med" len="med"/>
          </a:ln>
        </p:spPr>
      </p:cxnSp>
      <p:pic>
        <p:nvPicPr>
          <p:cNvPr id="703" name="Google Shape;703;p99"/>
          <p:cNvPicPr preferRelativeResize="0"/>
          <p:nvPr/>
        </p:nvPicPr>
        <p:blipFill>
          <a:blip r:embed="rId8">
            <a:alphaModFix/>
          </a:blip>
          <a:stretch>
            <a:fillRect/>
          </a:stretch>
        </p:blipFill>
        <p:spPr>
          <a:xfrm>
            <a:off x="325367" y="4391101"/>
            <a:ext cx="2069197" cy="1955065"/>
          </a:xfrm>
          <a:prstGeom prst="rect">
            <a:avLst/>
          </a:prstGeom>
          <a:noFill/>
          <a:ln>
            <a:noFill/>
          </a:ln>
        </p:spPr>
      </p:pic>
      <p:pic>
        <p:nvPicPr>
          <p:cNvPr id="704" name="Google Shape;704;p99"/>
          <p:cNvPicPr preferRelativeResize="0"/>
          <p:nvPr/>
        </p:nvPicPr>
        <p:blipFill>
          <a:blip r:embed="rId9">
            <a:alphaModFix/>
          </a:blip>
          <a:stretch>
            <a:fillRect/>
          </a:stretch>
        </p:blipFill>
        <p:spPr>
          <a:xfrm>
            <a:off x="8234055" y="1754343"/>
            <a:ext cx="1430517" cy="1430517"/>
          </a:xfrm>
          <a:prstGeom prst="rect">
            <a:avLst/>
          </a:prstGeom>
          <a:noFill/>
          <a:ln>
            <a:noFill/>
          </a:ln>
        </p:spPr>
      </p:pic>
      <p:pic>
        <p:nvPicPr>
          <p:cNvPr id="705" name="Google Shape;705;p99"/>
          <p:cNvPicPr preferRelativeResize="0"/>
          <p:nvPr/>
        </p:nvPicPr>
        <p:blipFill>
          <a:blip r:embed="rId10">
            <a:alphaModFix/>
          </a:blip>
          <a:stretch>
            <a:fillRect/>
          </a:stretch>
        </p:blipFill>
        <p:spPr>
          <a:xfrm>
            <a:off x="6705005" y="1758396"/>
            <a:ext cx="1426464" cy="1426464"/>
          </a:xfrm>
          <a:prstGeom prst="rect">
            <a:avLst/>
          </a:prstGeom>
          <a:noFill/>
          <a:ln>
            <a:noFill/>
          </a:ln>
        </p:spPr>
      </p:pic>
      <p:pic>
        <p:nvPicPr>
          <p:cNvPr id="706" name="Google Shape;706;p99"/>
          <p:cNvPicPr preferRelativeResize="0"/>
          <p:nvPr/>
        </p:nvPicPr>
        <p:blipFill>
          <a:blip r:embed="rId11">
            <a:alphaModFix/>
          </a:blip>
          <a:stretch>
            <a:fillRect/>
          </a:stretch>
        </p:blipFill>
        <p:spPr>
          <a:xfrm>
            <a:off x="9720655" y="1852727"/>
            <a:ext cx="1524000" cy="1231900"/>
          </a:xfrm>
          <a:prstGeom prst="rect">
            <a:avLst/>
          </a:prstGeom>
          <a:noFill/>
          <a:ln>
            <a:noFill/>
          </a:ln>
        </p:spPr>
      </p:pic>
      <p:pic>
        <p:nvPicPr>
          <p:cNvPr id="707" name="Google Shape;707;p99"/>
          <p:cNvPicPr preferRelativeResize="0"/>
          <p:nvPr/>
        </p:nvPicPr>
        <p:blipFill>
          <a:blip r:embed="rId12">
            <a:alphaModFix/>
          </a:blip>
          <a:stretch>
            <a:fillRect/>
          </a:stretch>
        </p:blipFill>
        <p:spPr>
          <a:xfrm>
            <a:off x="6656237" y="3137909"/>
            <a:ext cx="1524000" cy="1231900"/>
          </a:xfrm>
          <a:prstGeom prst="rect">
            <a:avLst/>
          </a:prstGeom>
          <a:noFill/>
          <a:ln>
            <a:noFill/>
          </a:ln>
        </p:spPr>
      </p:pic>
      <p:pic>
        <p:nvPicPr>
          <p:cNvPr id="708" name="Google Shape;708;p99"/>
          <p:cNvPicPr preferRelativeResize="0"/>
          <p:nvPr/>
        </p:nvPicPr>
        <p:blipFill>
          <a:blip r:embed="rId13">
            <a:alphaModFix/>
          </a:blip>
          <a:stretch>
            <a:fillRect/>
          </a:stretch>
        </p:blipFill>
        <p:spPr>
          <a:xfrm>
            <a:off x="9751664" y="3022335"/>
            <a:ext cx="1463040" cy="1463040"/>
          </a:xfrm>
          <a:prstGeom prst="rect">
            <a:avLst/>
          </a:prstGeom>
          <a:noFill/>
          <a:ln>
            <a:noFill/>
          </a:ln>
        </p:spPr>
      </p:pic>
      <p:pic>
        <p:nvPicPr>
          <p:cNvPr id="709" name="Google Shape;709;p99"/>
          <p:cNvPicPr preferRelativeResize="0"/>
          <p:nvPr/>
        </p:nvPicPr>
        <p:blipFill>
          <a:blip r:embed="rId14">
            <a:alphaModFix/>
          </a:blip>
          <a:stretch>
            <a:fillRect/>
          </a:stretch>
        </p:blipFill>
        <p:spPr>
          <a:xfrm>
            <a:off x="8211456" y="3022336"/>
            <a:ext cx="1463040" cy="1463040"/>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1">
            <a:extLst>
              <a:ext uri="{FF2B5EF4-FFF2-40B4-BE49-F238E27FC236}">
                <a16:creationId xmlns:a16="http://schemas.microsoft.com/office/drawing/2014/main" id="{ACD324F3-9DF3-F1A1-51B9-5BF166D15378}"/>
              </a:ext>
            </a:extLst>
          </p:cNvPr>
          <p:cNvSpPr>
            <a:spLocks noGrp="1"/>
          </p:cNvSpPr>
          <p:nvPr>
            <p:ph type="dt" sz="half" idx="10"/>
          </p:nvPr>
        </p:nvSpPr>
        <p:spPr>
          <a:xfrm>
            <a:off x="838200" y="6356350"/>
            <a:ext cx="2743200" cy="365125"/>
          </a:xfrm>
        </p:spPr>
        <p:txBody>
          <a:bodyPr anchor="ctr">
            <a:normAutofit fontScale="92500"/>
          </a:bodyPr>
          <a:lstStyle/>
          <a:p>
            <a:pPr>
              <a:spcAft>
                <a:spcPts val="600"/>
              </a:spcAft>
            </a:pPr>
            <a:r>
              <a:rPr lang="cs-CZ" dirty="0" err="1">
                <a:hlinkClick r:id="rId2"/>
              </a:rPr>
              <a:t>Solution</a:t>
            </a:r>
            <a:r>
              <a:rPr lang="cs-CZ" dirty="0">
                <a:hlinkClick r:id="rId2"/>
              </a:rPr>
              <a:t> Provider - Palo Alto Networks</a:t>
            </a:r>
            <a:endParaRPr lang="en-US" dirty="0"/>
          </a:p>
        </p:txBody>
      </p:sp>
      <p:sp>
        <p:nvSpPr>
          <p:cNvPr id="7" name="Title 2">
            <a:extLst>
              <a:ext uri="{FF2B5EF4-FFF2-40B4-BE49-F238E27FC236}">
                <a16:creationId xmlns:a16="http://schemas.microsoft.com/office/drawing/2014/main" id="{F64AF30C-E200-E1CA-D61E-66816D8FAA7A}"/>
              </a:ext>
            </a:extLst>
          </p:cNvPr>
          <p:cNvSpPr>
            <a:spLocks noGrp="1"/>
          </p:cNvSpPr>
          <p:nvPr>
            <p:ph type="title"/>
          </p:nvPr>
        </p:nvSpPr>
        <p:spPr>
          <a:xfrm>
            <a:off x="925284" y="553807"/>
            <a:ext cx="10515600" cy="1325563"/>
          </a:xfrm>
        </p:spPr>
        <p:txBody>
          <a:bodyPr anchor="ctr">
            <a:normAutofit/>
          </a:bodyPr>
          <a:lstStyle/>
          <a:p>
            <a:r>
              <a:rPr lang="cs-CZ" dirty="0"/>
              <a:t>Podmínky platné od 1.8.2023</a:t>
            </a:r>
            <a:endParaRPr lang="en-US" dirty="0"/>
          </a:p>
        </p:txBody>
      </p:sp>
      <p:sp>
        <p:nvSpPr>
          <p:cNvPr id="8" name="Content Placeholder 7">
            <a:extLst>
              <a:ext uri="{FF2B5EF4-FFF2-40B4-BE49-F238E27FC236}">
                <a16:creationId xmlns:a16="http://schemas.microsoft.com/office/drawing/2014/main" id="{878E7850-1F47-6EF5-9287-B3BBA1229087}"/>
              </a:ext>
            </a:extLst>
          </p:cNvPr>
          <p:cNvSpPr>
            <a:spLocks noGrp="1"/>
          </p:cNvSpPr>
          <p:nvPr>
            <p:ph idx="1"/>
          </p:nvPr>
        </p:nvSpPr>
        <p:spPr>
          <a:xfrm>
            <a:off x="881742" y="1555659"/>
            <a:ext cx="10428516" cy="4351338"/>
          </a:xfrm>
        </p:spPr>
        <p:txBody>
          <a:bodyPr/>
          <a:lstStyle/>
          <a:p>
            <a:endParaRPr lang="cs-CZ"/>
          </a:p>
        </p:txBody>
      </p:sp>
      <p:pic>
        <p:nvPicPr>
          <p:cNvPr id="14" name="Picture 13">
            <a:extLst>
              <a:ext uri="{FF2B5EF4-FFF2-40B4-BE49-F238E27FC236}">
                <a16:creationId xmlns:a16="http://schemas.microsoft.com/office/drawing/2014/main" id="{6C4874BF-0FCE-D2AA-2907-A3B94D8AACBD}"/>
              </a:ext>
            </a:extLst>
          </p:cNvPr>
          <p:cNvPicPr>
            <a:picLocks noChangeAspect="1"/>
          </p:cNvPicPr>
          <p:nvPr/>
        </p:nvPicPr>
        <p:blipFill>
          <a:blip r:embed="rId3"/>
          <a:stretch>
            <a:fillRect/>
          </a:stretch>
        </p:blipFill>
        <p:spPr>
          <a:xfrm>
            <a:off x="112974" y="362947"/>
            <a:ext cx="11966052" cy="5839433"/>
          </a:xfrm>
          <a:prstGeom prst="rect">
            <a:avLst/>
          </a:prstGeom>
        </p:spPr>
      </p:pic>
    </p:spTree>
    <p:extLst>
      <p:ext uri="{BB962C8B-B14F-4D97-AF65-F5344CB8AC3E}">
        <p14:creationId xmlns:p14="http://schemas.microsoft.com/office/powerpoint/2010/main" val="1080633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6A74A-F600-C542-5929-539750B49734}"/>
              </a:ext>
            </a:extLst>
          </p:cNvPr>
          <p:cNvSpPr>
            <a:spLocks noGrp="1"/>
          </p:cNvSpPr>
          <p:nvPr>
            <p:ph type="title"/>
          </p:nvPr>
        </p:nvSpPr>
        <p:spPr/>
        <p:txBody>
          <a:bodyPr/>
          <a:lstStyle/>
          <a:p>
            <a:endParaRPr lang="cs-CZ" dirty="0"/>
          </a:p>
        </p:txBody>
      </p:sp>
      <p:sp>
        <p:nvSpPr>
          <p:cNvPr id="3" name="Subtitle 2">
            <a:extLst>
              <a:ext uri="{FF2B5EF4-FFF2-40B4-BE49-F238E27FC236}">
                <a16:creationId xmlns:a16="http://schemas.microsoft.com/office/drawing/2014/main" id="{204775F4-DCCF-81E1-77D4-321647793856}"/>
              </a:ext>
            </a:extLst>
          </p:cNvPr>
          <p:cNvSpPr>
            <a:spLocks noGrp="1"/>
          </p:cNvSpPr>
          <p:nvPr>
            <p:ph type="subTitle" idx="1"/>
          </p:nvPr>
        </p:nvSpPr>
        <p:spPr/>
        <p:txBody>
          <a:bodyPr/>
          <a:lstStyle/>
          <a:p>
            <a:endParaRPr lang="cs-CZ" dirty="0"/>
          </a:p>
        </p:txBody>
      </p:sp>
      <p:pic>
        <p:nvPicPr>
          <p:cNvPr id="8" name="Picture Placeholder 5" descr="Next Wave Partner Portal - Palo Alto Networks and 15 more pages - Work - Microsoft​ Edge">
            <a:extLst>
              <a:ext uri="{FF2B5EF4-FFF2-40B4-BE49-F238E27FC236}">
                <a16:creationId xmlns:a16="http://schemas.microsoft.com/office/drawing/2014/main" id="{24CE14C1-4443-E920-7282-AB8521F5C6F0}"/>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a:stretch>
            <a:fillRect/>
          </a:stretch>
        </p:blipFill>
        <p:spPr>
          <a:xfrm>
            <a:off x="304364" y="726581"/>
            <a:ext cx="11777384" cy="5404837"/>
          </a:xfrm>
        </p:spPr>
      </p:pic>
      <p:pic>
        <p:nvPicPr>
          <p:cNvPr id="9" name="Picture Placeholder 5" descr="Next Wave Partner Portal - Palo Alto Networks and 15 more pages - Work - Microsoft​ Edge">
            <a:extLst>
              <a:ext uri="{FF2B5EF4-FFF2-40B4-BE49-F238E27FC236}">
                <a16:creationId xmlns:a16="http://schemas.microsoft.com/office/drawing/2014/main" id="{4B74A61B-50AF-5295-1C46-801AAE123B83}"/>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a:stretch>
            <a:fillRect/>
          </a:stretch>
        </p:blipFill>
        <p:spPr>
          <a:xfrm>
            <a:off x="330539" y="473449"/>
            <a:ext cx="11434916" cy="6150337"/>
          </a:xfrm>
        </p:spPr>
      </p:pic>
    </p:spTree>
    <p:extLst>
      <p:ext uri="{BB962C8B-B14F-4D97-AF65-F5344CB8AC3E}">
        <p14:creationId xmlns:p14="http://schemas.microsoft.com/office/powerpoint/2010/main" val="31332487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5"/>
        <p:cNvGrpSpPr/>
        <p:nvPr/>
      </p:nvGrpSpPr>
      <p:grpSpPr>
        <a:xfrm>
          <a:off x="0" y="0"/>
          <a:ext cx="0" cy="0"/>
          <a:chOff x="0" y="0"/>
          <a:chExt cx="0" cy="0"/>
        </a:xfrm>
      </p:grpSpPr>
      <p:sp>
        <p:nvSpPr>
          <p:cNvPr id="1176" name="Google Shape;1176;p118"/>
          <p:cNvSpPr txBox="1">
            <a:spLocks noGrp="1"/>
          </p:cNvSpPr>
          <p:nvPr>
            <p:ph type="title"/>
          </p:nvPr>
        </p:nvSpPr>
        <p:spPr>
          <a:xfrm>
            <a:off x="330529" y="473433"/>
            <a:ext cx="11414000" cy="781200"/>
          </a:xfrm>
          <a:prstGeom prst="rect">
            <a:avLst/>
          </a:prstGeom>
        </p:spPr>
        <p:txBody>
          <a:bodyPr spcFirstLastPara="1" vert="horz" wrap="square" lIns="146300" tIns="73167" rIns="146300" bIns="73167" rtlCol="0" anchor="ctr" anchorCtr="0">
            <a:normAutofit/>
          </a:bodyPr>
          <a:lstStyle/>
          <a:p>
            <a:r>
              <a:rPr lang="en" sz="2400" dirty="0">
                <a:solidFill>
                  <a:schemeClr val="tx1">
                    <a:lumMod val="95000"/>
                  </a:schemeClr>
                </a:solidFill>
              </a:rPr>
              <a:t>NextWave Product Specializations | Requirements</a:t>
            </a:r>
            <a:endParaRPr sz="2400" dirty="0">
              <a:solidFill>
                <a:schemeClr val="tx1">
                  <a:lumMod val="95000"/>
                </a:schemeClr>
              </a:solidFill>
            </a:endParaRPr>
          </a:p>
        </p:txBody>
      </p:sp>
      <p:graphicFrame>
        <p:nvGraphicFramePr>
          <p:cNvPr id="1177" name="Google Shape;1177;p118"/>
          <p:cNvGraphicFramePr/>
          <p:nvPr>
            <p:extLst>
              <p:ext uri="{D42A27DB-BD31-4B8C-83A1-F6EECF244321}">
                <p14:modId xmlns:p14="http://schemas.microsoft.com/office/powerpoint/2010/main" val="870701638"/>
              </p:ext>
            </p:extLst>
          </p:nvPr>
        </p:nvGraphicFramePr>
        <p:xfrm>
          <a:off x="223520" y="1300037"/>
          <a:ext cx="11744935" cy="4512101"/>
        </p:xfrm>
        <a:graphic>
          <a:graphicData uri="http://schemas.openxmlformats.org/drawingml/2006/table">
            <a:tbl>
              <a:tblPr>
                <a:noFill/>
              </a:tblPr>
              <a:tblGrid>
                <a:gridCol w="1966333">
                  <a:extLst>
                    <a:ext uri="{9D8B030D-6E8A-4147-A177-3AD203B41FA5}">
                      <a16:colId xmlns:a16="http://schemas.microsoft.com/office/drawing/2014/main" val="20000"/>
                    </a:ext>
                  </a:extLst>
                </a:gridCol>
                <a:gridCol w="1624501">
                  <a:extLst>
                    <a:ext uri="{9D8B030D-6E8A-4147-A177-3AD203B41FA5}">
                      <a16:colId xmlns:a16="http://schemas.microsoft.com/office/drawing/2014/main" val="20001"/>
                    </a:ext>
                  </a:extLst>
                </a:gridCol>
                <a:gridCol w="1635033">
                  <a:extLst>
                    <a:ext uri="{9D8B030D-6E8A-4147-A177-3AD203B41FA5}">
                      <a16:colId xmlns:a16="http://schemas.microsoft.com/office/drawing/2014/main" val="20002"/>
                    </a:ext>
                  </a:extLst>
                </a:gridCol>
                <a:gridCol w="1621973">
                  <a:extLst>
                    <a:ext uri="{9D8B030D-6E8A-4147-A177-3AD203B41FA5}">
                      <a16:colId xmlns:a16="http://schemas.microsoft.com/office/drawing/2014/main" val="20003"/>
                    </a:ext>
                  </a:extLst>
                </a:gridCol>
                <a:gridCol w="1637211">
                  <a:extLst>
                    <a:ext uri="{9D8B030D-6E8A-4147-A177-3AD203B41FA5}">
                      <a16:colId xmlns:a16="http://schemas.microsoft.com/office/drawing/2014/main" val="20004"/>
                    </a:ext>
                  </a:extLst>
                </a:gridCol>
                <a:gridCol w="1630117">
                  <a:extLst>
                    <a:ext uri="{9D8B030D-6E8A-4147-A177-3AD203B41FA5}">
                      <a16:colId xmlns:a16="http://schemas.microsoft.com/office/drawing/2014/main" val="20005"/>
                    </a:ext>
                  </a:extLst>
                </a:gridCol>
                <a:gridCol w="1629767">
                  <a:extLst>
                    <a:ext uri="{9D8B030D-6E8A-4147-A177-3AD203B41FA5}">
                      <a16:colId xmlns:a16="http://schemas.microsoft.com/office/drawing/2014/main" val="20006"/>
                    </a:ext>
                  </a:extLst>
                </a:gridCol>
              </a:tblGrid>
              <a:tr h="659767">
                <a:tc>
                  <a:txBody>
                    <a:bodyPr/>
                    <a:lstStyle/>
                    <a:p>
                      <a:pPr marL="0" marR="0" lvl="0" indent="0" algn="ctr" rtl="0">
                        <a:lnSpc>
                          <a:spcPct val="100000"/>
                        </a:lnSpc>
                        <a:spcBef>
                          <a:spcPts val="0"/>
                        </a:spcBef>
                        <a:spcAft>
                          <a:spcPts val="0"/>
                        </a:spcAft>
                        <a:buClr>
                          <a:srgbClr val="000000"/>
                        </a:buClr>
                        <a:buSzPts val="700"/>
                        <a:buFont typeface="Arial"/>
                        <a:buNone/>
                      </a:pPr>
                      <a:endParaRPr sz="800" b="1" u="none" strike="noStrike" cap="none" dirty="0">
                        <a:solidFill>
                          <a:srgbClr val="FFFFFF"/>
                        </a:solidFill>
                        <a:latin typeface="Montserrat"/>
                        <a:ea typeface="Montserrat"/>
                        <a:cs typeface="Montserrat"/>
                        <a:sym typeface="Montserrat"/>
                      </a:endParaRPr>
                    </a:p>
                  </a:txBody>
                  <a:tcPr marL="0" marR="121900" marT="36567" marB="36567" anchor="ctr">
                    <a:lnL w="9525" cap="flat" cmpd="sng">
                      <a:solidFill>
                        <a:srgbClr val="FFFFFF">
                          <a:alpha val="0"/>
                        </a:srgbClr>
                      </a:solidFill>
                      <a:prstDash val="solid"/>
                      <a:round/>
                      <a:headEnd type="none" w="sm" len="sm"/>
                      <a:tailEnd type="none" w="sm" len="sm"/>
                    </a:lnL>
                    <a:lnR w="38100" cap="flat" cmpd="sng">
                      <a:solidFill>
                        <a:schemeClr val="lt1"/>
                      </a:solidFill>
                      <a:prstDash val="solid"/>
                      <a:round/>
                      <a:headEnd type="none" w="sm" len="sm"/>
                      <a:tailEnd type="none" w="sm" len="sm"/>
                    </a:lnR>
                    <a:lnT w="76200" cap="flat" cmpd="sng">
                      <a:solidFill>
                        <a:srgbClr val="FFFFFF">
                          <a:alpha val="0"/>
                        </a:srgbClr>
                      </a:solidFill>
                      <a:prstDash val="solid"/>
                      <a:round/>
                      <a:headEnd type="none" w="sm" len="sm"/>
                      <a:tailEnd type="none" w="sm" len="sm"/>
                    </a:lnT>
                    <a:lnB w="38100" cap="flat" cmpd="sng">
                      <a:solidFill>
                        <a:srgbClr val="FFFFFF"/>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 sz="1300" b="1" dirty="0">
                          <a:solidFill>
                            <a:schemeClr val="tx1">
                              <a:lumMod val="95000"/>
                            </a:schemeClr>
                          </a:solidFill>
                          <a:latin typeface="Montserrat"/>
                          <a:ea typeface="Montserrat"/>
                          <a:cs typeface="Montserrat"/>
                          <a:sym typeface="Montserrat"/>
                        </a:rPr>
                        <a:t>Hardware</a:t>
                      </a:r>
                      <a:br>
                        <a:rPr lang="en" sz="1300" b="1" dirty="0">
                          <a:solidFill>
                            <a:schemeClr val="tx1">
                              <a:lumMod val="95000"/>
                            </a:schemeClr>
                          </a:solidFill>
                          <a:latin typeface="Montserrat"/>
                          <a:ea typeface="Montserrat"/>
                          <a:cs typeface="Montserrat"/>
                          <a:sym typeface="Montserrat"/>
                        </a:rPr>
                      </a:br>
                      <a:r>
                        <a:rPr lang="en" sz="1300" b="1" dirty="0">
                          <a:solidFill>
                            <a:schemeClr val="tx1">
                              <a:lumMod val="95000"/>
                            </a:schemeClr>
                          </a:solidFill>
                          <a:latin typeface="Montserrat"/>
                          <a:ea typeface="Montserrat"/>
                          <a:cs typeface="Montserrat"/>
                          <a:sym typeface="Montserrat"/>
                        </a:rPr>
                        <a:t>Firewall</a:t>
                      </a:r>
                      <a:endParaRPr sz="1300" b="1" u="none" strike="noStrike" cap="none" dirty="0">
                        <a:solidFill>
                          <a:schemeClr val="tx1">
                            <a:lumMod val="95000"/>
                          </a:schemeClr>
                        </a:solidFill>
                        <a:latin typeface="Montserrat"/>
                        <a:ea typeface="Montserrat"/>
                        <a:cs typeface="Montserrat"/>
                        <a:sym typeface="Montserrat"/>
                      </a:endParaRPr>
                    </a:p>
                  </a:txBody>
                  <a:tcPr marL="0" marR="60967" marT="36567" marB="36567"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rgbClr val="FFFFFF"/>
                      </a:solidFill>
                      <a:prstDash val="solid"/>
                      <a:round/>
                      <a:headEnd type="none" w="sm" len="sm"/>
                      <a:tailEnd type="none" w="sm" len="sm"/>
                    </a:lnB>
                    <a:solidFill>
                      <a:srgbClr val="FFC000"/>
                    </a:solidFill>
                  </a:tcPr>
                </a:tc>
                <a:tc>
                  <a:txBody>
                    <a:bodyPr/>
                    <a:lstStyle/>
                    <a:p>
                      <a:pPr marL="0" marR="0" lvl="0" indent="0" algn="ctr" rtl="0">
                        <a:lnSpc>
                          <a:spcPct val="100000"/>
                        </a:lnSpc>
                        <a:spcBef>
                          <a:spcPts val="0"/>
                        </a:spcBef>
                        <a:spcAft>
                          <a:spcPts val="0"/>
                        </a:spcAft>
                        <a:buNone/>
                      </a:pPr>
                      <a:r>
                        <a:rPr lang="en" sz="1300" b="1" dirty="0">
                          <a:solidFill>
                            <a:schemeClr val="tx1">
                              <a:lumMod val="95000"/>
                            </a:schemeClr>
                          </a:solidFill>
                          <a:latin typeface="Montserrat"/>
                          <a:ea typeface="Montserrat"/>
                          <a:cs typeface="Montserrat"/>
                          <a:sym typeface="Montserrat"/>
                        </a:rPr>
                        <a:t>Software</a:t>
                      </a:r>
                      <a:br>
                        <a:rPr lang="en" sz="1300" b="1" dirty="0">
                          <a:solidFill>
                            <a:schemeClr val="tx1">
                              <a:lumMod val="95000"/>
                            </a:schemeClr>
                          </a:solidFill>
                          <a:latin typeface="Montserrat"/>
                          <a:ea typeface="Montserrat"/>
                          <a:cs typeface="Montserrat"/>
                          <a:sym typeface="Montserrat"/>
                        </a:rPr>
                      </a:br>
                      <a:r>
                        <a:rPr lang="en" sz="1300" b="1" dirty="0">
                          <a:solidFill>
                            <a:schemeClr val="tx1">
                              <a:lumMod val="95000"/>
                            </a:schemeClr>
                          </a:solidFill>
                          <a:latin typeface="Montserrat"/>
                          <a:ea typeface="Montserrat"/>
                          <a:cs typeface="Montserrat"/>
                          <a:sym typeface="Montserrat"/>
                        </a:rPr>
                        <a:t>Firewall</a:t>
                      </a:r>
                      <a:endParaRPr sz="1300" b="1" u="none" strike="noStrike" cap="none" dirty="0">
                        <a:solidFill>
                          <a:schemeClr val="tx1">
                            <a:lumMod val="95000"/>
                          </a:schemeClr>
                        </a:solidFill>
                        <a:latin typeface="Montserrat"/>
                        <a:ea typeface="Montserrat"/>
                        <a:cs typeface="Montserrat"/>
                        <a:sym typeface="Montserrat"/>
                      </a:endParaRPr>
                    </a:p>
                  </a:txBody>
                  <a:tcPr marL="0" marR="60967" marT="36567" marB="36567"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rgbClr val="FFFFFF"/>
                      </a:solidFill>
                      <a:prstDash val="solid"/>
                      <a:round/>
                      <a:headEnd type="none" w="sm" len="sm"/>
                      <a:tailEnd type="none" w="sm" len="sm"/>
                    </a:lnB>
                    <a:solidFill>
                      <a:srgbClr val="FFC000"/>
                    </a:solidFill>
                  </a:tcPr>
                </a:tc>
                <a:tc>
                  <a:txBody>
                    <a:bodyPr/>
                    <a:lstStyle/>
                    <a:p>
                      <a:pPr marL="0" marR="0" lvl="0" indent="0" algn="ctr" rtl="0">
                        <a:lnSpc>
                          <a:spcPct val="100000"/>
                        </a:lnSpc>
                        <a:spcBef>
                          <a:spcPts val="0"/>
                        </a:spcBef>
                        <a:spcAft>
                          <a:spcPts val="0"/>
                        </a:spcAft>
                        <a:buClr>
                          <a:srgbClr val="000000"/>
                        </a:buClr>
                        <a:buSzPts val="900"/>
                        <a:buFont typeface="Arial"/>
                        <a:buNone/>
                      </a:pPr>
                      <a:r>
                        <a:rPr lang="en" sz="1300" b="1" dirty="0">
                          <a:solidFill>
                            <a:schemeClr val="tx1">
                              <a:lumMod val="95000"/>
                            </a:schemeClr>
                          </a:solidFill>
                          <a:latin typeface="Montserrat"/>
                          <a:ea typeface="Montserrat"/>
                          <a:cs typeface="Montserrat"/>
                          <a:sym typeface="Montserrat"/>
                        </a:rPr>
                        <a:t>Prisma</a:t>
                      </a:r>
                      <a:br>
                        <a:rPr lang="en" sz="1300" b="1" dirty="0">
                          <a:solidFill>
                            <a:schemeClr val="tx1">
                              <a:lumMod val="95000"/>
                            </a:schemeClr>
                          </a:solidFill>
                          <a:latin typeface="Montserrat"/>
                          <a:ea typeface="Montserrat"/>
                          <a:cs typeface="Montserrat"/>
                          <a:sym typeface="Montserrat"/>
                        </a:rPr>
                      </a:br>
                      <a:r>
                        <a:rPr lang="en" sz="1300" b="1" dirty="0">
                          <a:solidFill>
                            <a:schemeClr val="tx1">
                              <a:lumMod val="95000"/>
                            </a:schemeClr>
                          </a:solidFill>
                          <a:latin typeface="Montserrat"/>
                          <a:ea typeface="Montserrat"/>
                          <a:cs typeface="Montserrat"/>
                          <a:sym typeface="Montserrat"/>
                        </a:rPr>
                        <a:t>SASE</a:t>
                      </a:r>
                      <a:endParaRPr sz="1300" b="1" u="none" strike="noStrike" cap="none" dirty="0">
                        <a:solidFill>
                          <a:schemeClr val="tx1">
                            <a:lumMod val="95000"/>
                          </a:schemeClr>
                        </a:solidFill>
                        <a:latin typeface="Montserrat"/>
                        <a:ea typeface="Montserrat"/>
                        <a:cs typeface="Montserrat"/>
                        <a:sym typeface="Montserrat"/>
                      </a:endParaRPr>
                    </a:p>
                  </a:txBody>
                  <a:tcPr marL="0" marR="60967" marT="36567" marB="36567"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rgbClr val="FFFFFF"/>
                      </a:solidFill>
                      <a:prstDash val="solid"/>
                      <a:round/>
                      <a:headEnd type="none" w="sm" len="sm"/>
                      <a:tailEnd type="none" w="sm" len="sm"/>
                    </a:lnB>
                    <a:solidFill>
                      <a:srgbClr val="00BED6"/>
                    </a:solidFill>
                  </a:tcPr>
                </a:tc>
                <a:tc>
                  <a:txBody>
                    <a:bodyPr/>
                    <a:lstStyle/>
                    <a:p>
                      <a:pPr marL="0" marR="0" lvl="0" indent="0" algn="ctr" rtl="0">
                        <a:lnSpc>
                          <a:spcPct val="100000"/>
                        </a:lnSpc>
                        <a:spcBef>
                          <a:spcPts val="0"/>
                        </a:spcBef>
                        <a:spcAft>
                          <a:spcPts val="0"/>
                        </a:spcAft>
                        <a:buClr>
                          <a:srgbClr val="000000"/>
                        </a:buClr>
                        <a:buSzPts val="900"/>
                        <a:buFont typeface="Arial"/>
                        <a:buNone/>
                      </a:pPr>
                      <a:r>
                        <a:rPr lang="en" sz="1300" b="1" dirty="0">
                          <a:solidFill>
                            <a:schemeClr val="tx1">
                              <a:lumMod val="95000"/>
                            </a:schemeClr>
                          </a:solidFill>
                          <a:latin typeface="Montserrat"/>
                          <a:ea typeface="Montserrat"/>
                          <a:cs typeface="Montserrat"/>
                          <a:sym typeface="Montserrat"/>
                        </a:rPr>
                        <a:t>Prisma</a:t>
                      </a:r>
                      <a:br>
                        <a:rPr lang="en" sz="1300" b="1" dirty="0">
                          <a:solidFill>
                            <a:schemeClr val="tx1">
                              <a:lumMod val="95000"/>
                            </a:schemeClr>
                          </a:solidFill>
                          <a:latin typeface="Montserrat"/>
                          <a:ea typeface="Montserrat"/>
                          <a:cs typeface="Montserrat"/>
                          <a:sym typeface="Montserrat"/>
                        </a:rPr>
                      </a:br>
                      <a:r>
                        <a:rPr lang="en" sz="1300" b="1" dirty="0">
                          <a:solidFill>
                            <a:schemeClr val="tx1">
                              <a:lumMod val="95000"/>
                            </a:schemeClr>
                          </a:solidFill>
                          <a:latin typeface="Montserrat"/>
                          <a:ea typeface="Montserrat"/>
                          <a:cs typeface="Montserrat"/>
                          <a:sym typeface="Montserrat"/>
                        </a:rPr>
                        <a:t>Cloud</a:t>
                      </a:r>
                      <a:endParaRPr sz="1300" b="1" u="none" strike="noStrike" cap="none" dirty="0">
                        <a:solidFill>
                          <a:schemeClr val="tx1">
                            <a:lumMod val="95000"/>
                          </a:schemeClr>
                        </a:solidFill>
                        <a:latin typeface="Montserrat"/>
                        <a:ea typeface="Montserrat"/>
                        <a:cs typeface="Montserrat"/>
                        <a:sym typeface="Montserrat"/>
                      </a:endParaRPr>
                    </a:p>
                  </a:txBody>
                  <a:tcPr marL="0" marR="60967" marT="36567" marB="36567"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rgbClr val="FFFFFF"/>
                      </a:solidFill>
                      <a:prstDash val="solid"/>
                      <a:round/>
                      <a:headEnd type="none" w="sm" len="sm"/>
                      <a:tailEnd type="none" w="sm" len="sm"/>
                    </a:lnB>
                    <a:solidFill>
                      <a:srgbClr val="00BED6"/>
                    </a:solidFill>
                  </a:tcPr>
                </a:tc>
                <a:tc>
                  <a:txBody>
                    <a:bodyPr/>
                    <a:lstStyle/>
                    <a:p>
                      <a:pPr marL="0" marR="0" lvl="0" indent="0" algn="ctr" rtl="0">
                        <a:lnSpc>
                          <a:spcPct val="100000"/>
                        </a:lnSpc>
                        <a:spcBef>
                          <a:spcPts val="0"/>
                        </a:spcBef>
                        <a:spcAft>
                          <a:spcPts val="0"/>
                        </a:spcAft>
                        <a:buClr>
                          <a:srgbClr val="000000"/>
                        </a:buClr>
                        <a:buSzPts val="900"/>
                        <a:buFont typeface="Arial"/>
                        <a:buNone/>
                      </a:pPr>
                      <a:r>
                        <a:rPr lang="en" sz="1300" b="1" dirty="0">
                          <a:solidFill>
                            <a:schemeClr val="tx1">
                              <a:lumMod val="95000"/>
                            </a:schemeClr>
                          </a:solidFill>
                          <a:latin typeface="Montserrat"/>
                          <a:ea typeface="Montserrat"/>
                          <a:cs typeface="Montserrat"/>
                          <a:sym typeface="Montserrat"/>
                        </a:rPr>
                        <a:t>Cortex</a:t>
                      </a:r>
                      <a:br>
                        <a:rPr lang="en" sz="1300" b="1" dirty="0">
                          <a:solidFill>
                            <a:schemeClr val="tx1">
                              <a:lumMod val="95000"/>
                            </a:schemeClr>
                          </a:solidFill>
                          <a:latin typeface="Montserrat"/>
                          <a:ea typeface="Montserrat"/>
                          <a:cs typeface="Montserrat"/>
                          <a:sym typeface="Montserrat"/>
                        </a:rPr>
                      </a:br>
                      <a:r>
                        <a:rPr lang="en" sz="1300" b="1" dirty="0">
                          <a:solidFill>
                            <a:schemeClr val="tx1">
                              <a:lumMod val="95000"/>
                            </a:schemeClr>
                          </a:solidFill>
                          <a:latin typeface="Montserrat"/>
                          <a:ea typeface="Montserrat"/>
                          <a:cs typeface="Montserrat"/>
                          <a:sym typeface="Montserrat"/>
                        </a:rPr>
                        <a:t>XDR</a:t>
                      </a:r>
                      <a:endParaRPr sz="1300" i="1" u="none" strike="noStrike" cap="none" dirty="0">
                        <a:solidFill>
                          <a:schemeClr val="tx1">
                            <a:lumMod val="95000"/>
                          </a:schemeClr>
                        </a:solidFill>
                        <a:latin typeface="Montserrat"/>
                        <a:ea typeface="Montserrat"/>
                        <a:cs typeface="Montserrat"/>
                        <a:sym typeface="Montserrat"/>
                      </a:endParaRPr>
                    </a:p>
                  </a:txBody>
                  <a:tcPr marL="0" marR="60967" marT="36567" marB="36567"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rgbClr val="FFFFFF"/>
                      </a:solidFill>
                      <a:prstDash val="solid"/>
                      <a:round/>
                      <a:headEnd type="none" w="sm" len="sm"/>
                      <a:tailEnd type="none" w="sm" len="sm"/>
                    </a:lnB>
                    <a:solidFill>
                      <a:srgbClr val="00B050"/>
                    </a:solidFill>
                  </a:tcPr>
                </a:tc>
                <a:tc>
                  <a:txBody>
                    <a:bodyPr/>
                    <a:lstStyle/>
                    <a:p>
                      <a:pPr marL="0" marR="0" lvl="0" indent="0" algn="ctr" rtl="0">
                        <a:lnSpc>
                          <a:spcPct val="100000"/>
                        </a:lnSpc>
                        <a:spcBef>
                          <a:spcPts val="0"/>
                        </a:spcBef>
                        <a:spcAft>
                          <a:spcPts val="0"/>
                        </a:spcAft>
                        <a:buNone/>
                      </a:pPr>
                      <a:r>
                        <a:rPr lang="en" sz="1300" b="1" dirty="0">
                          <a:solidFill>
                            <a:schemeClr val="tx1">
                              <a:lumMod val="95000"/>
                            </a:schemeClr>
                          </a:solidFill>
                          <a:latin typeface="Montserrat"/>
                          <a:ea typeface="Montserrat"/>
                          <a:cs typeface="Montserrat"/>
                          <a:sym typeface="Montserrat"/>
                        </a:rPr>
                        <a:t>Cortex</a:t>
                      </a:r>
                      <a:br>
                        <a:rPr lang="en" sz="1300" b="1" dirty="0">
                          <a:solidFill>
                            <a:schemeClr val="tx1">
                              <a:lumMod val="95000"/>
                            </a:schemeClr>
                          </a:solidFill>
                          <a:latin typeface="Montserrat"/>
                          <a:ea typeface="Montserrat"/>
                          <a:cs typeface="Montserrat"/>
                          <a:sym typeface="Montserrat"/>
                        </a:rPr>
                      </a:br>
                      <a:r>
                        <a:rPr lang="en" sz="1300" b="1" dirty="0">
                          <a:solidFill>
                            <a:schemeClr val="tx1">
                              <a:lumMod val="95000"/>
                            </a:schemeClr>
                          </a:solidFill>
                          <a:latin typeface="Montserrat"/>
                          <a:ea typeface="Montserrat"/>
                          <a:cs typeface="Montserrat"/>
                          <a:sym typeface="Montserrat"/>
                        </a:rPr>
                        <a:t>XSOAR</a:t>
                      </a:r>
                      <a:endParaRPr sz="1300" b="1" dirty="0">
                        <a:solidFill>
                          <a:schemeClr val="tx1">
                            <a:lumMod val="95000"/>
                          </a:schemeClr>
                        </a:solidFill>
                        <a:latin typeface="Montserrat"/>
                        <a:ea typeface="Montserrat"/>
                        <a:cs typeface="Montserrat"/>
                        <a:sym typeface="Montserrat"/>
                      </a:endParaRPr>
                    </a:p>
                  </a:txBody>
                  <a:tcPr marL="0" marR="60967" marT="36567" marB="36567" anchor="ctr">
                    <a:lnL w="38100" cap="flat" cmpd="sng">
                      <a:solidFill>
                        <a:schemeClr val="lt1"/>
                      </a:solidFill>
                      <a:prstDash val="solid"/>
                      <a:round/>
                      <a:headEnd type="none" w="sm" len="sm"/>
                      <a:tailEnd type="none" w="sm" len="sm"/>
                    </a:lnL>
                    <a:lnR w="9525" cap="flat" cmpd="sng">
                      <a:solidFill>
                        <a:srgbClr val="C84624">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rgbClr val="FFFFFF"/>
                      </a:solidFill>
                      <a:prstDash val="solid"/>
                      <a:round/>
                      <a:headEnd type="none" w="sm" len="sm"/>
                      <a:tailEnd type="none" w="sm" len="sm"/>
                    </a:lnB>
                    <a:solidFill>
                      <a:srgbClr val="00B050"/>
                    </a:solidFill>
                  </a:tcPr>
                </a:tc>
                <a:extLst>
                  <a:ext uri="{0D108BD9-81ED-4DB2-BD59-A6C34878D82A}">
                    <a16:rowId xmlns:a16="http://schemas.microsoft.com/office/drawing/2014/main" val="10000"/>
                  </a:ext>
                </a:extLst>
              </a:tr>
              <a:tr h="442400">
                <a:tc>
                  <a:txBody>
                    <a:bodyPr/>
                    <a:lstStyle/>
                    <a:p>
                      <a:pPr marL="0" marR="0" lvl="0" indent="0" algn="l" rtl="0">
                        <a:lnSpc>
                          <a:spcPct val="100000"/>
                        </a:lnSpc>
                        <a:spcBef>
                          <a:spcPts val="0"/>
                        </a:spcBef>
                        <a:spcAft>
                          <a:spcPts val="0"/>
                        </a:spcAft>
                        <a:buClr>
                          <a:srgbClr val="000000"/>
                        </a:buClr>
                        <a:buSzPts val="700"/>
                        <a:buFont typeface="Arial"/>
                        <a:buNone/>
                      </a:pPr>
                      <a:r>
                        <a:rPr lang="en" sz="1300" b="1" u="none" strike="noStrike" cap="none" dirty="0">
                          <a:solidFill>
                            <a:srgbClr val="FFFFFF"/>
                          </a:solidFill>
                          <a:latin typeface="Montserrat"/>
                          <a:ea typeface="Montserrat"/>
                          <a:cs typeface="Montserrat"/>
                          <a:sym typeface="Montserrat"/>
                        </a:rPr>
                        <a:t>Capabilities</a:t>
                      </a:r>
                      <a:endParaRPr sz="1300" b="1" u="none" strike="noStrike" cap="none" dirty="0">
                        <a:solidFill>
                          <a:srgbClr val="FFFFFF"/>
                        </a:solidFill>
                        <a:latin typeface="Montserrat"/>
                        <a:ea typeface="Montserrat"/>
                        <a:cs typeface="Montserrat"/>
                        <a:sym typeface="Montserrat"/>
                      </a:endParaRPr>
                    </a:p>
                  </a:txBody>
                  <a:tcPr marL="121933" marR="0" marT="36567" marB="36567" anchor="ctr">
                    <a:lnL w="9525" cap="flat" cmpd="sng">
                      <a:solidFill>
                        <a:srgbClr val="CCCCCC"/>
                      </a:solidFill>
                      <a:prstDash val="solid"/>
                      <a:round/>
                      <a:headEnd type="none" w="sm" len="sm"/>
                      <a:tailEnd type="none" w="sm" len="sm"/>
                    </a:lnL>
                    <a:lnR w="9525" cap="flat" cmpd="sng">
                      <a:solidFill>
                        <a:schemeClr val="dk2"/>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None/>
                      </a:pPr>
                      <a:endParaRPr sz="800" b="1" u="none" strike="noStrike" cap="none" dirty="0">
                        <a:solidFill>
                          <a:srgbClr val="FFFFFF"/>
                        </a:solidFill>
                        <a:latin typeface="Montserrat"/>
                        <a:ea typeface="Montserrat"/>
                        <a:cs typeface="Montserrat"/>
                        <a:sym typeface="Montserrat"/>
                      </a:endParaRPr>
                    </a:p>
                  </a:txBody>
                  <a:tcPr marL="0" marR="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None/>
                      </a:pPr>
                      <a:endParaRPr sz="800" b="1" u="none" strike="noStrike" cap="none" dirty="0">
                        <a:solidFill>
                          <a:srgbClr val="FFFFFF"/>
                        </a:solidFill>
                        <a:latin typeface="Montserrat"/>
                        <a:ea typeface="Montserrat"/>
                        <a:cs typeface="Montserrat"/>
                        <a:sym typeface="Montserrat"/>
                      </a:endParaRPr>
                    </a:p>
                  </a:txBody>
                  <a:tcPr marL="0" marR="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Clr>
                          <a:srgbClr val="000000"/>
                        </a:buClr>
                        <a:buSzPts val="600"/>
                        <a:buFont typeface="Arial"/>
                        <a:buNone/>
                      </a:pPr>
                      <a:endParaRPr sz="800" b="1" u="none" strike="noStrike" cap="none" dirty="0">
                        <a:solidFill>
                          <a:srgbClr val="FFFFFF"/>
                        </a:solidFill>
                        <a:latin typeface="Montserrat"/>
                        <a:ea typeface="Montserrat"/>
                        <a:cs typeface="Montserrat"/>
                        <a:sym typeface="Montserrat"/>
                      </a:endParaRPr>
                    </a:p>
                  </a:txBody>
                  <a:tcPr marL="0" marR="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Clr>
                          <a:srgbClr val="000000"/>
                        </a:buClr>
                        <a:buSzPts val="600"/>
                        <a:buFont typeface="Arial"/>
                        <a:buNone/>
                      </a:pPr>
                      <a:endParaRPr sz="800" b="1" u="none" strike="noStrike" cap="none" dirty="0">
                        <a:solidFill>
                          <a:srgbClr val="FFFFFF"/>
                        </a:solidFill>
                        <a:latin typeface="Montserrat"/>
                        <a:ea typeface="Montserrat"/>
                        <a:cs typeface="Montserrat"/>
                        <a:sym typeface="Montserrat"/>
                      </a:endParaRPr>
                    </a:p>
                  </a:txBody>
                  <a:tcPr marL="0" marR="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Clr>
                          <a:srgbClr val="000000"/>
                        </a:buClr>
                        <a:buSzPts val="600"/>
                        <a:buFont typeface="Arial"/>
                        <a:buNone/>
                      </a:pPr>
                      <a:endParaRPr sz="800" b="1" u="none" strike="noStrike" cap="none" dirty="0">
                        <a:solidFill>
                          <a:srgbClr val="FFFFFF"/>
                        </a:solidFill>
                        <a:latin typeface="Montserrat"/>
                        <a:ea typeface="Montserrat"/>
                        <a:cs typeface="Montserrat"/>
                        <a:sym typeface="Montserrat"/>
                      </a:endParaRPr>
                    </a:p>
                  </a:txBody>
                  <a:tcPr marL="0" marR="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None/>
                      </a:pPr>
                      <a:endParaRPr sz="800" b="1" u="none" strike="noStrike" cap="none" dirty="0">
                        <a:solidFill>
                          <a:srgbClr val="FFFFFF"/>
                        </a:solidFill>
                        <a:latin typeface="Montserrat"/>
                        <a:ea typeface="Montserrat"/>
                        <a:cs typeface="Montserrat"/>
                        <a:sym typeface="Montserrat"/>
                      </a:endParaRPr>
                    </a:p>
                  </a:txBody>
                  <a:tcPr marL="0" marR="0" marT="36567" marB="36567" anchor="ctr">
                    <a:lnL w="9525" cap="flat" cmpd="sng">
                      <a:solidFill>
                        <a:schemeClr val="dk2"/>
                      </a:solidFill>
                      <a:prstDash val="solid"/>
                      <a:round/>
                      <a:headEnd type="none" w="sm" len="sm"/>
                      <a:tailEnd type="none" w="sm" len="sm"/>
                    </a:lnL>
                    <a:lnR w="9525" cap="flat" cmpd="sng">
                      <a:solidFill>
                        <a:srgbClr val="CCCCCC"/>
                      </a:solidFill>
                      <a:prstDash val="solid"/>
                      <a:round/>
                      <a:headEnd type="none" w="sm" len="sm"/>
                      <a:tailEnd type="none" w="sm" len="sm"/>
                    </a:lnR>
                    <a:lnT w="38100" cap="flat" cmpd="sng">
                      <a:solidFill>
                        <a:srgbClr val="FFFFFF"/>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extLst>
                  <a:ext uri="{0D108BD9-81ED-4DB2-BD59-A6C34878D82A}">
                    <a16:rowId xmlns:a16="http://schemas.microsoft.com/office/drawing/2014/main" val="10001"/>
                  </a:ext>
                </a:extLst>
              </a:tr>
              <a:tr h="776000">
                <a:tc>
                  <a:txBody>
                    <a:bodyPr/>
                    <a:lstStyle/>
                    <a:p>
                      <a:pPr marL="0" marR="0" lvl="0" indent="0" algn="l" rtl="0">
                        <a:lnSpc>
                          <a:spcPct val="115000"/>
                        </a:lnSpc>
                        <a:spcBef>
                          <a:spcPts val="0"/>
                        </a:spcBef>
                        <a:spcAft>
                          <a:spcPts val="0"/>
                        </a:spcAft>
                        <a:buClr>
                          <a:srgbClr val="000000"/>
                        </a:buClr>
                        <a:buSzPts val="600"/>
                        <a:buFont typeface="Arial"/>
                        <a:buNone/>
                      </a:pPr>
                      <a:r>
                        <a:rPr lang="en" sz="1200" b="1" u="none" strike="noStrike" cap="none" dirty="0">
                          <a:solidFill>
                            <a:schemeClr val="accent6"/>
                          </a:solidFill>
                          <a:latin typeface="Montserrat"/>
                          <a:ea typeface="Montserrat"/>
                          <a:cs typeface="Montserrat"/>
                          <a:sym typeface="Montserrat"/>
                        </a:rPr>
                        <a:t>Sales</a:t>
                      </a:r>
                      <a:br>
                        <a:rPr lang="en" sz="1200" b="1" u="none" strike="noStrike" cap="none" dirty="0">
                          <a:solidFill>
                            <a:schemeClr val="accent6"/>
                          </a:solidFill>
                          <a:latin typeface="Montserrat"/>
                          <a:ea typeface="Montserrat"/>
                          <a:cs typeface="Montserrat"/>
                          <a:sym typeface="Montserrat"/>
                        </a:rPr>
                      </a:br>
                      <a:r>
                        <a:rPr lang="en" sz="900" dirty="0">
                          <a:solidFill>
                            <a:schemeClr val="accent6"/>
                          </a:solidFill>
                          <a:latin typeface="Montserrat"/>
                          <a:ea typeface="Montserrat"/>
                          <a:cs typeface="Montserrat"/>
                          <a:sym typeface="Montserrat"/>
                        </a:rPr>
                        <a:t># of Sales Resources w/Certification</a:t>
                      </a:r>
                      <a:endParaRPr sz="1100" b="1" dirty="0">
                        <a:solidFill>
                          <a:schemeClr val="accent6"/>
                        </a:solidFill>
                        <a:latin typeface="Montserrat"/>
                        <a:ea typeface="Montserrat"/>
                        <a:cs typeface="Montserrat"/>
                        <a:sym typeface="Montserrat"/>
                      </a:endParaRPr>
                    </a:p>
                  </a:txBody>
                  <a:tcPr marL="121933"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E9E9E9"/>
                    </a:solidFill>
                  </a:tcPr>
                </a:tc>
                <a:tc>
                  <a:txBody>
                    <a:bodyPr/>
                    <a:lstStyle/>
                    <a:p>
                      <a:pPr marL="0" lvl="0" indent="0" algn="ctr" rtl="0">
                        <a:spcBef>
                          <a:spcPts val="0"/>
                        </a:spcBef>
                        <a:spcAft>
                          <a:spcPts val="0"/>
                        </a:spcAft>
                        <a:buNone/>
                      </a:pPr>
                      <a:r>
                        <a:rPr lang="en" sz="1100" dirty="0">
                          <a:solidFill>
                            <a:srgbClr val="141414"/>
                          </a:solidFill>
                          <a:latin typeface="Montserrat ExtraBold"/>
                          <a:ea typeface="Montserrat ExtraBold"/>
                          <a:cs typeface="Montserrat ExtraBold"/>
                          <a:sym typeface="Montserrat ExtraBold"/>
                        </a:rPr>
                        <a:t>2</a:t>
                      </a:r>
                      <a:r>
                        <a:rPr lang="en" sz="1100" b="1" dirty="0">
                          <a:solidFill>
                            <a:srgbClr val="141414"/>
                          </a:solidFill>
                          <a:latin typeface="Montserrat"/>
                          <a:ea typeface="Montserrat"/>
                          <a:cs typeface="Montserrat"/>
                          <a:sym typeface="Montserrat"/>
                        </a:rPr>
                        <a:t> </a:t>
                      </a:r>
                      <a:r>
                        <a:rPr lang="en-US" sz="1100" b="1" dirty="0">
                          <a:solidFill>
                            <a:schemeClr val="bg2"/>
                          </a:solidFill>
                          <a:hlinkClick r:id="rId3">
                            <a:extLst>
                              <a:ext uri="{A12FA001-AC4F-418D-AE19-62706E023703}">
                                <ahyp:hlinkClr xmlns:ahyp="http://schemas.microsoft.com/office/drawing/2018/hyperlinkcolor" val="tx"/>
                              </a:ext>
                            </a:extLst>
                          </a:hlinkClick>
                        </a:rPr>
                        <a:t>Sales Product Specialist - Hardware Firewall</a:t>
                      </a:r>
                      <a:endParaRPr sz="1100" b="1" dirty="0">
                        <a:solidFill>
                          <a:schemeClr val="bg2"/>
                        </a:solidFill>
                        <a:latin typeface="Montserrat SemiBold"/>
                        <a:ea typeface="Montserrat SemiBold"/>
                        <a:cs typeface="Montserrat SemiBold"/>
                        <a:sym typeface="Montserrat Semi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None/>
                      </a:pPr>
                      <a:r>
                        <a:rPr lang="en" sz="1100" dirty="0">
                          <a:solidFill>
                            <a:srgbClr val="141414"/>
                          </a:solidFill>
                          <a:latin typeface="Montserrat ExtraBold"/>
                          <a:ea typeface="Montserrat ExtraBold"/>
                          <a:cs typeface="Montserrat ExtraBold"/>
                          <a:sym typeface="Montserrat ExtraBold"/>
                        </a:rPr>
                        <a:t>3</a:t>
                      </a:r>
                      <a:r>
                        <a:rPr lang="en" sz="1100" b="1" dirty="0">
                          <a:solidFill>
                            <a:srgbClr val="141414"/>
                          </a:solidFill>
                          <a:latin typeface="Montserrat"/>
                          <a:ea typeface="Montserrat"/>
                          <a:cs typeface="Montserrat"/>
                          <a:sym typeface="Montserrat"/>
                        </a:rPr>
                        <a:t> </a:t>
                      </a:r>
                      <a:r>
                        <a:rPr lang="en-US" sz="1100" b="1" kern="1200" dirty="0">
                          <a:solidFill>
                            <a:schemeClr val="bg2"/>
                          </a:solidFill>
                          <a:latin typeface="+mn-lt"/>
                          <a:ea typeface="+mn-ea"/>
                          <a:cs typeface="+mn-cs"/>
                          <a:hlinkClick r:id="rId4">
                            <a:extLst>
                              <a:ext uri="{A12FA001-AC4F-418D-AE19-62706E023703}">
                                <ahyp:hlinkClr xmlns:ahyp="http://schemas.microsoft.com/office/drawing/2018/hyperlinkcolor" val="tx"/>
                              </a:ext>
                            </a:extLst>
                          </a:hlinkClick>
                        </a:rPr>
                        <a:t>Sales Product Specialist - Software Firewall</a:t>
                      </a:r>
                      <a:endParaRPr sz="1100" b="1" kern="1200" dirty="0">
                        <a:solidFill>
                          <a:schemeClr val="bg2"/>
                        </a:solidFill>
                        <a:latin typeface="+mn-lt"/>
                        <a:ea typeface="+mn-ea"/>
                        <a:cs typeface="+mn-cs"/>
                        <a:sym typeface="Montserrat Semi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3</a:t>
                      </a:r>
                      <a:r>
                        <a:rPr lang="en" sz="1100" b="1" kern="1200" dirty="0">
                          <a:solidFill>
                            <a:schemeClr val="bg2"/>
                          </a:solidFill>
                          <a:latin typeface="+mn-lt"/>
                          <a:ea typeface="+mn-ea"/>
                          <a:cs typeface="+mn-cs"/>
                          <a:sym typeface="Montserrat"/>
                        </a:rPr>
                        <a:t> </a:t>
                      </a:r>
                      <a:r>
                        <a:rPr lang="en-US" sz="1100" b="1" kern="1200" dirty="0">
                          <a:solidFill>
                            <a:schemeClr val="bg2"/>
                          </a:solidFill>
                          <a:latin typeface="+mn-lt"/>
                          <a:ea typeface="+mn-ea"/>
                          <a:cs typeface="+mn-cs"/>
                          <a:hlinkClick r:id="rId5">
                            <a:extLst>
                              <a:ext uri="{A12FA001-AC4F-418D-AE19-62706E023703}">
                                <ahyp:hlinkClr xmlns:ahyp="http://schemas.microsoft.com/office/drawing/2018/hyperlinkcolor" val="tx"/>
                              </a:ext>
                            </a:extLst>
                          </a:hlinkClick>
                        </a:rPr>
                        <a:t>Sales Product Specialist - SASE</a:t>
                      </a:r>
                      <a:endParaRPr sz="1100" b="1" kern="1200" dirty="0">
                        <a:solidFill>
                          <a:schemeClr val="bg2"/>
                        </a:solidFill>
                        <a:latin typeface="+mn-lt"/>
                        <a:ea typeface="+mn-ea"/>
                        <a:cs typeface="+mn-cs"/>
                        <a:sym typeface="Montserrat Semi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3</a:t>
                      </a:r>
                      <a:r>
                        <a:rPr lang="en" sz="1100" b="1" kern="1200" dirty="0">
                          <a:solidFill>
                            <a:schemeClr val="bg2"/>
                          </a:solidFill>
                          <a:latin typeface="+mn-lt"/>
                          <a:ea typeface="+mn-ea"/>
                          <a:cs typeface="+mn-cs"/>
                          <a:sym typeface="Montserrat"/>
                        </a:rPr>
                        <a:t> </a:t>
                      </a:r>
                      <a:r>
                        <a:rPr lang="en-US" sz="1100" b="1" kern="1200" dirty="0">
                          <a:solidFill>
                            <a:schemeClr val="bg2"/>
                          </a:solidFill>
                          <a:latin typeface="+mn-lt"/>
                          <a:ea typeface="+mn-ea"/>
                          <a:cs typeface="+mn-cs"/>
                          <a:hlinkClick r:id="rId6">
                            <a:extLst>
                              <a:ext uri="{A12FA001-AC4F-418D-AE19-62706E023703}">
                                <ahyp:hlinkClr xmlns:ahyp="http://schemas.microsoft.com/office/drawing/2018/hyperlinkcolor" val="tx"/>
                              </a:ext>
                            </a:extLst>
                          </a:hlinkClick>
                        </a:rPr>
                        <a:t>Sales Product Specialist - Cloud</a:t>
                      </a:r>
                      <a:endParaRPr sz="1100" b="1" kern="1200" dirty="0">
                        <a:solidFill>
                          <a:schemeClr val="bg2"/>
                        </a:solidFill>
                        <a:latin typeface="+mn-lt"/>
                        <a:ea typeface="+mn-ea"/>
                        <a:cs typeface="+mn-cs"/>
                        <a:sym typeface="Montserrat Semi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3</a:t>
                      </a:r>
                      <a:r>
                        <a:rPr lang="en" sz="1100" b="1" kern="1200" dirty="0">
                          <a:solidFill>
                            <a:schemeClr val="bg2"/>
                          </a:solidFill>
                          <a:latin typeface="+mn-lt"/>
                          <a:ea typeface="+mn-ea"/>
                          <a:cs typeface="+mn-cs"/>
                          <a:sym typeface="Montserrat"/>
                        </a:rPr>
                        <a:t> </a:t>
                      </a:r>
                      <a:r>
                        <a:rPr lang="cs-CZ" sz="1100" b="1" kern="1200" dirty="0">
                          <a:solidFill>
                            <a:schemeClr val="bg2"/>
                          </a:solidFill>
                          <a:latin typeface="+mn-lt"/>
                          <a:ea typeface="+mn-ea"/>
                          <a:cs typeface="+mn-cs"/>
                          <a:hlinkClick r:id="rId7">
                            <a:extLst>
                              <a:ext uri="{A12FA001-AC4F-418D-AE19-62706E023703}">
                                <ahyp:hlinkClr xmlns:ahyp="http://schemas.microsoft.com/office/drawing/2018/hyperlinkcolor" val="tx"/>
                              </a:ext>
                            </a:extLst>
                          </a:hlinkClick>
                        </a:rPr>
                        <a:t>Sales </a:t>
                      </a:r>
                      <a:r>
                        <a:rPr lang="cs-CZ" sz="1100" b="1" kern="1200" dirty="0" err="1">
                          <a:solidFill>
                            <a:schemeClr val="bg2"/>
                          </a:solidFill>
                          <a:latin typeface="+mn-lt"/>
                          <a:ea typeface="+mn-ea"/>
                          <a:cs typeface="+mn-cs"/>
                          <a:hlinkClick r:id="rId7">
                            <a:extLst>
                              <a:ext uri="{A12FA001-AC4F-418D-AE19-62706E023703}">
                                <ahyp:hlinkClr xmlns:ahyp="http://schemas.microsoft.com/office/drawing/2018/hyperlinkcolor" val="tx"/>
                              </a:ext>
                            </a:extLst>
                          </a:hlinkClick>
                        </a:rPr>
                        <a:t>Product</a:t>
                      </a:r>
                      <a:r>
                        <a:rPr lang="cs-CZ" sz="1100" b="1" kern="1200" dirty="0">
                          <a:solidFill>
                            <a:schemeClr val="bg2"/>
                          </a:solidFill>
                          <a:latin typeface="+mn-lt"/>
                          <a:ea typeface="+mn-ea"/>
                          <a:cs typeface="+mn-cs"/>
                          <a:hlinkClick r:id="rId7">
                            <a:extLst>
                              <a:ext uri="{A12FA001-AC4F-418D-AE19-62706E023703}">
                                <ahyp:hlinkClr xmlns:ahyp="http://schemas.microsoft.com/office/drawing/2018/hyperlinkcolor" val="tx"/>
                              </a:ext>
                            </a:extLst>
                          </a:hlinkClick>
                        </a:rPr>
                        <a:t> </a:t>
                      </a:r>
                      <a:r>
                        <a:rPr lang="cs-CZ" sz="1100" b="1" kern="1200" dirty="0" err="1">
                          <a:solidFill>
                            <a:schemeClr val="bg2"/>
                          </a:solidFill>
                          <a:latin typeface="+mn-lt"/>
                          <a:ea typeface="+mn-ea"/>
                          <a:cs typeface="+mn-cs"/>
                          <a:hlinkClick r:id="rId7">
                            <a:extLst>
                              <a:ext uri="{A12FA001-AC4F-418D-AE19-62706E023703}">
                                <ahyp:hlinkClr xmlns:ahyp="http://schemas.microsoft.com/office/drawing/2018/hyperlinkcolor" val="tx"/>
                              </a:ext>
                            </a:extLst>
                          </a:hlinkClick>
                        </a:rPr>
                        <a:t>Specialist</a:t>
                      </a:r>
                      <a:r>
                        <a:rPr lang="cs-CZ" sz="1100" b="1" kern="1200" dirty="0">
                          <a:solidFill>
                            <a:schemeClr val="bg2"/>
                          </a:solidFill>
                          <a:latin typeface="+mn-lt"/>
                          <a:ea typeface="+mn-ea"/>
                          <a:cs typeface="+mn-cs"/>
                          <a:hlinkClick r:id="rId7">
                            <a:extLst>
                              <a:ext uri="{A12FA001-AC4F-418D-AE19-62706E023703}">
                                <ahyp:hlinkClr xmlns:ahyp="http://schemas.microsoft.com/office/drawing/2018/hyperlinkcolor" val="tx"/>
                              </a:ext>
                            </a:extLst>
                          </a:hlinkClick>
                        </a:rPr>
                        <a:t> - XDR</a:t>
                      </a:r>
                      <a:endParaRPr sz="1100" b="1" kern="1200" dirty="0">
                        <a:solidFill>
                          <a:schemeClr val="bg2"/>
                        </a:solidFill>
                        <a:latin typeface="+mn-lt"/>
                        <a:ea typeface="+mn-ea"/>
                        <a:cs typeface="+mn-cs"/>
                        <a:sym typeface="Montserrat Semi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tc>
                  <a:txBody>
                    <a:bodyPr/>
                    <a:lstStyle/>
                    <a:p>
                      <a:pPr marL="0" lvl="0" indent="0" algn="ctr" rtl="0">
                        <a:spcBef>
                          <a:spcPts val="0"/>
                        </a:spcBef>
                        <a:spcAft>
                          <a:spcPts val="0"/>
                        </a:spcAft>
                        <a:buClr>
                          <a:schemeClr val="dk1"/>
                        </a:buClr>
                        <a:buSzPts val="1100"/>
                        <a:buFont typeface="Arial"/>
                        <a:buNone/>
                      </a:pPr>
                      <a:r>
                        <a:rPr lang="en" sz="1100" b="1" kern="1200" dirty="0">
                          <a:solidFill>
                            <a:schemeClr val="bg2"/>
                          </a:solidFill>
                          <a:latin typeface="+mn-lt"/>
                          <a:ea typeface="+mn-ea"/>
                          <a:cs typeface="+mn-cs"/>
                          <a:sym typeface="Montserrat ExtraBold"/>
                        </a:rPr>
                        <a:t>3</a:t>
                      </a:r>
                      <a:r>
                        <a:rPr lang="en" sz="1100" b="1" kern="1200" dirty="0">
                          <a:solidFill>
                            <a:schemeClr val="bg2"/>
                          </a:solidFill>
                          <a:latin typeface="+mn-lt"/>
                          <a:ea typeface="+mn-ea"/>
                          <a:cs typeface="+mn-cs"/>
                          <a:sym typeface="Montserrat"/>
                        </a:rPr>
                        <a:t> </a:t>
                      </a:r>
                      <a:r>
                        <a:rPr lang="cs-CZ" sz="1100" b="1" kern="1200" dirty="0">
                          <a:solidFill>
                            <a:schemeClr val="bg2"/>
                          </a:solidFill>
                          <a:latin typeface="+mn-lt"/>
                          <a:ea typeface="+mn-ea"/>
                          <a:cs typeface="+mn-cs"/>
                          <a:hlinkClick r:id="rId8">
                            <a:extLst>
                              <a:ext uri="{A12FA001-AC4F-418D-AE19-62706E023703}">
                                <ahyp:hlinkClr xmlns:ahyp="http://schemas.microsoft.com/office/drawing/2018/hyperlinkcolor" val="tx"/>
                              </a:ext>
                            </a:extLst>
                          </a:hlinkClick>
                        </a:rPr>
                        <a:t>Sales </a:t>
                      </a:r>
                      <a:r>
                        <a:rPr lang="cs-CZ" sz="1100" b="1" kern="1200" dirty="0" err="1">
                          <a:solidFill>
                            <a:schemeClr val="bg2"/>
                          </a:solidFill>
                          <a:latin typeface="+mn-lt"/>
                          <a:ea typeface="+mn-ea"/>
                          <a:cs typeface="+mn-cs"/>
                          <a:hlinkClick r:id="rId8">
                            <a:extLst>
                              <a:ext uri="{A12FA001-AC4F-418D-AE19-62706E023703}">
                                <ahyp:hlinkClr xmlns:ahyp="http://schemas.microsoft.com/office/drawing/2018/hyperlinkcolor" val="tx"/>
                              </a:ext>
                            </a:extLst>
                          </a:hlinkClick>
                        </a:rPr>
                        <a:t>Product</a:t>
                      </a:r>
                      <a:r>
                        <a:rPr lang="cs-CZ" sz="1100" b="1" kern="1200" dirty="0">
                          <a:solidFill>
                            <a:schemeClr val="bg2"/>
                          </a:solidFill>
                          <a:latin typeface="+mn-lt"/>
                          <a:ea typeface="+mn-ea"/>
                          <a:cs typeface="+mn-cs"/>
                          <a:hlinkClick r:id="rId8">
                            <a:extLst>
                              <a:ext uri="{A12FA001-AC4F-418D-AE19-62706E023703}">
                                <ahyp:hlinkClr xmlns:ahyp="http://schemas.microsoft.com/office/drawing/2018/hyperlinkcolor" val="tx"/>
                              </a:ext>
                            </a:extLst>
                          </a:hlinkClick>
                        </a:rPr>
                        <a:t> </a:t>
                      </a:r>
                      <a:r>
                        <a:rPr lang="cs-CZ" sz="1100" b="1" kern="1200" dirty="0" err="1">
                          <a:solidFill>
                            <a:schemeClr val="bg2"/>
                          </a:solidFill>
                          <a:latin typeface="+mn-lt"/>
                          <a:ea typeface="+mn-ea"/>
                          <a:cs typeface="+mn-cs"/>
                          <a:hlinkClick r:id="rId8">
                            <a:extLst>
                              <a:ext uri="{A12FA001-AC4F-418D-AE19-62706E023703}">
                                <ahyp:hlinkClr xmlns:ahyp="http://schemas.microsoft.com/office/drawing/2018/hyperlinkcolor" val="tx"/>
                              </a:ext>
                            </a:extLst>
                          </a:hlinkClick>
                        </a:rPr>
                        <a:t>Specialist</a:t>
                      </a:r>
                      <a:r>
                        <a:rPr lang="cs-CZ" sz="1100" b="1" kern="1200" dirty="0">
                          <a:solidFill>
                            <a:schemeClr val="bg2"/>
                          </a:solidFill>
                          <a:latin typeface="+mn-lt"/>
                          <a:ea typeface="+mn-ea"/>
                          <a:cs typeface="+mn-cs"/>
                          <a:hlinkClick r:id="rId8">
                            <a:extLst>
                              <a:ext uri="{A12FA001-AC4F-418D-AE19-62706E023703}">
                                <ahyp:hlinkClr xmlns:ahyp="http://schemas.microsoft.com/office/drawing/2018/hyperlinkcolor" val="tx"/>
                              </a:ext>
                            </a:extLst>
                          </a:hlinkClick>
                        </a:rPr>
                        <a:t> - XSOAR</a:t>
                      </a:r>
                      <a:endParaRPr sz="1100" b="1" kern="1200" dirty="0">
                        <a:solidFill>
                          <a:schemeClr val="bg2"/>
                        </a:solidFill>
                        <a:latin typeface="+mn-lt"/>
                        <a:ea typeface="+mn-ea"/>
                        <a:cs typeface="+mn-cs"/>
                        <a:sym typeface="Montserrat Semi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extLst>
                  <a:ext uri="{0D108BD9-81ED-4DB2-BD59-A6C34878D82A}">
                    <a16:rowId xmlns:a16="http://schemas.microsoft.com/office/drawing/2014/main" val="10002"/>
                  </a:ext>
                </a:extLst>
              </a:tr>
              <a:tr h="776000">
                <a:tc>
                  <a:txBody>
                    <a:bodyPr/>
                    <a:lstStyle/>
                    <a:p>
                      <a:pPr marL="0" lvl="0" indent="0" algn="l" rtl="0">
                        <a:lnSpc>
                          <a:spcPct val="115000"/>
                        </a:lnSpc>
                        <a:spcBef>
                          <a:spcPts val="0"/>
                        </a:spcBef>
                        <a:spcAft>
                          <a:spcPts val="0"/>
                        </a:spcAft>
                        <a:buNone/>
                      </a:pPr>
                      <a:r>
                        <a:rPr lang="en" sz="1200" b="1" dirty="0">
                          <a:solidFill>
                            <a:schemeClr val="accent6"/>
                          </a:solidFill>
                          <a:latin typeface="Montserrat"/>
                          <a:ea typeface="Montserrat"/>
                          <a:cs typeface="Montserrat"/>
                          <a:sym typeface="Montserrat"/>
                        </a:rPr>
                        <a:t>Technical Pre-Sales</a:t>
                      </a:r>
                      <a:endParaRPr sz="1200" b="1" dirty="0">
                        <a:solidFill>
                          <a:schemeClr val="accent6"/>
                        </a:solidFill>
                        <a:latin typeface="Montserrat"/>
                        <a:ea typeface="Montserrat"/>
                        <a:cs typeface="Montserrat"/>
                        <a:sym typeface="Montserrat"/>
                      </a:endParaRPr>
                    </a:p>
                    <a:p>
                      <a:pPr marL="0" lvl="0" indent="0" algn="l" rtl="0">
                        <a:lnSpc>
                          <a:spcPct val="115000"/>
                        </a:lnSpc>
                        <a:spcBef>
                          <a:spcPts val="0"/>
                        </a:spcBef>
                        <a:spcAft>
                          <a:spcPts val="0"/>
                        </a:spcAft>
                        <a:buNone/>
                      </a:pPr>
                      <a:r>
                        <a:rPr lang="en" sz="900" kern="1200" dirty="0">
                          <a:solidFill>
                            <a:schemeClr val="accent6"/>
                          </a:solidFill>
                          <a:latin typeface="Montserrat"/>
                          <a:ea typeface="Montserrat"/>
                          <a:cs typeface="Montserrat"/>
                          <a:sym typeface="Montserrat"/>
                        </a:rPr>
                        <a:t># of Engineers w/Certification</a:t>
                      </a:r>
                      <a:endParaRPr sz="900" kern="1200" dirty="0">
                        <a:solidFill>
                          <a:schemeClr val="accent6"/>
                        </a:solidFill>
                        <a:latin typeface="Montserrat"/>
                        <a:ea typeface="Montserrat"/>
                        <a:cs typeface="Montserrat"/>
                        <a:sym typeface="Montserrat"/>
                      </a:endParaRPr>
                    </a:p>
                  </a:txBody>
                  <a:tcPr marL="121933"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E9E9E9"/>
                    </a:solidFill>
                  </a:tcPr>
                </a:tc>
                <a:tc>
                  <a:txBody>
                    <a:bodyPr/>
                    <a:lstStyle/>
                    <a:p>
                      <a:pPr marL="0" lvl="0" indent="0" algn="ctr" rtl="0">
                        <a:spcBef>
                          <a:spcPts val="0"/>
                        </a:spcBef>
                        <a:spcAft>
                          <a:spcPts val="0"/>
                        </a:spcAft>
                        <a:buClr>
                          <a:schemeClr val="dk1"/>
                        </a:buClr>
                        <a:buSzPts val="1100"/>
                        <a:buFont typeface="Arial"/>
                        <a:buNone/>
                      </a:pPr>
                      <a:r>
                        <a:rPr lang="en" sz="1100" dirty="0">
                          <a:solidFill>
                            <a:srgbClr val="141414"/>
                          </a:solidFill>
                          <a:latin typeface="Montserrat ExtraBold"/>
                          <a:ea typeface="Montserrat ExtraBold"/>
                          <a:cs typeface="Montserrat ExtraBold"/>
                          <a:sym typeface="Montserrat ExtraBold"/>
                        </a:rPr>
                        <a:t>1</a:t>
                      </a:r>
                      <a:r>
                        <a:rPr lang="en" sz="1100" b="1" dirty="0">
                          <a:solidFill>
                            <a:srgbClr val="141414"/>
                          </a:solidFill>
                          <a:latin typeface="Montserrat"/>
                          <a:ea typeface="Montserrat"/>
                          <a:cs typeface="Montserrat"/>
                          <a:sym typeface="Montserrat"/>
                        </a:rPr>
                        <a:t> </a:t>
                      </a:r>
                      <a:r>
                        <a:rPr lang="cs-CZ" sz="1100" b="1" kern="1200" dirty="0">
                          <a:solidFill>
                            <a:schemeClr val="bg2"/>
                          </a:solidFill>
                          <a:latin typeface="+mn-lt"/>
                          <a:ea typeface="+mn-ea"/>
                          <a:cs typeface="+mn-cs"/>
                          <a:hlinkClick r:id="rId9">
                            <a:extLst>
                              <a:ext uri="{A12FA001-AC4F-418D-AE19-62706E023703}">
                                <ahyp:hlinkClr xmlns:ahyp="http://schemas.microsoft.com/office/drawing/2018/hyperlinkcolor" val="tx"/>
                              </a:ext>
                            </a:extLst>
                          </a:hlinkClick>
                        </a:rPr>
                        <a:t>Palo Alto Networks Systems </a:t>
                      </a:r>
                      <a:r>
                        <a:rPr lang="cs-CZ" sz="1100" b="1" kern="1200" dirty="0" err="1">
                          <a:solidFill>
                            <a:schemeClr val="bg2"/>
                          </a:solidFill>
                          <a:latin typeface="+mn-lt"/>
                          <a:ea typeface="+mn-ea"/>
                          <a:cs typeface="+mn-cs"/>
                          <a:hlinkClick r:id="rId9">
                            <a:extLst>
                              <a:ext uri="{A12FA001-AC4F-418D-AE19-62706E023703}">
                                <ahyp:hlinkClr xmlns:ahyp="http://schemas.microsoft.com/office/drawing/2018/hyperlinkcolor" val="tx"/>
                              </a:ext>
                            </a:extLst>
                          </a:hlinkClick>
                        </a:rPr>
                        <a:t>Engineer</a:t>
                      </a:r>
                      <a:r>
                        <a:rPr lang="cs-CZ" sz="1100" b="1" kern="1200" dirty="0">
                          <a:solidFill>
                            <a:schemeClr val="bg2"/>
                          </a:solidFill>
                          <a:latin typeface="+mn-lt"/>
                          <a:ea typeface="+mn-ea"/>
                          <a:cs typeface="+mn-cs"/>
                          <a:hlinkClick r:id="rId9">
                            <a:extLst>
                              <a:ext uri="{A12FA001-AC4F-418D-AE19-62706E023703}">
                                <ahyp:hlinkClr xmlns:ahyp="http://schemas.microsoft.com/office/drawing/2018/hyperlinkcolor" val="tx"/>
                              </a:ext>
                            </a:extLst>
                          </a:hlinkClick>
                        </a:rPr>
                        <a:t> (PSE): </a:t>
                      </a:r>
                      <a:r>
                        <a:rPr lang="cs-CZ" sz="1100" b="1" kern="1200" dirty="0" err="1">
                          <a:solidFill>
                            <a:schemeClr val="bg2"/>
                          </a:solidFill>
                          <a:latin typeface="+mn-lt"/>
                          <a:ea typeface="+mn-ea"/>
                          <a:cs typeface="+mn-cs"/>
                          <a:hlinkClick r:id="rId9">
                            <a:extLst>
                              <a:ext uri="{A12FA001-AC4F-418D-AE19-62706E023703}">
                                <ahyp:hlinkClr xmlns:ahyp="http://schemas.microsoft.com/office/drawing/2018/hyperlinkcolor" val="tx"/>
                              </a:ext>
                            </a:extLst>
                          </a:hlinkClick>
                        </a:rPr>
                        <a:t>Strata</a:t>
                      </a:r>
                      <a:r>
                        <a:rPr lang="cs-CZ" sz="1100" b="1" kern="1200" dirty="0">
                          <a:solidFill>
                            <a:schemeClr val="bg2"/>
                          </a:solidFill>
                          <a:latin typeface="+mn-lt"/>
                          <a:ea typeface="+mn-ea"/>
                          <a:cs typeface="+mn-cs"/>
                          <a:hlinkClick r:id="rId9">
                            <a:extLst>
                              <a:ext uri="{A12FA001-AC4F-418D-AE19-62706E023703}">
                                <ahyp:hlinkClr xmlns:ahyp="http://schemas.microsoft.com/office/drawing/2018/hyperlinkcolor" val="tx"/>
                              </a:ext>
                            </a:extLst>
                          </a:hlinkClick>
                        </a:rPr>
                        <a:t> Professional</a:t>
                      </a:r>
                      <a:endParaRPr sz="1100" b="1" kern="1200" dirty="0">
                        <a:solidFill>
                          <a:schemeClr val="bg2"/>
                        </a:solidFill>
                        <a:latin typeface="+mn-lt"/>
                        <a:ea typeface="+mn-ea"/>
                        <a:cs typeface="+mn-cs"/>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None/>
                      </a:pPr>
                      <a:r>
                        <a:rPr lang="en" sz="1100" dirty="0">
                          <a:solidFill>
                            <a:srgbClr val="141414"/>
                          </a:solidFill>
                          <a:latin typeface="Montserrat ExtraBold"/>
                          <a:ea typeface="Montserrat ExtraBold"/>
                          <a:cs typeface="Montserrat ExtraBold"/>
                          <a:sym typeface="Montserrat ExtraBold"/>
                        </a:rPr>
                        <a:t>2</a:t>
                      </a:r>
                      <a:r>
                        <a:rPr lang="en" sz="1100" dirty="0">
                          <a:solidFill>
                            <a:srgbClr val="141414"/>
                          </a:solidFill>
                          <a:latin typeface="Montserrat SemiBold"/>
                          <a:ea typeface="Montserrat SemiBold"/>
                          <a:cs typeface="Montserrat SemiBold"/>
                          <a:sym typeface="Montserrat SemiBold"/>
                        </a:rPr>
                        <a:t> </a:t>
                      </a:r>
                      <a:r>
                        <a:rPr lang="cs-CZ" sz="1100" b="1" kern="1200" dirty="0">
                          <a:solidFill>
                            <a:schemeClr val="bg2"/>
                          </a:solidFill>
                          <a:latin typeface="+mn-lt"/>
                          <a:ea typeface="+mn-ea"/>
                          <a:cs typeface="+mn-cs"/>
                          <a:hlinkClick r:id="rId10">
                            <a:extLst>
                              <a:ext uri="{A12FA001-AC4F-418D-AE19-62706E023703}">
                                <ahyp:hlinkClr xmlns:ahyp="http://schemas.microsoft.com/office/drawing/2018/hyperlinkcolor" val="tx"/>
                              </a:ext>
                            </a:extLst>
                          </a:hlinkClick>
                        </a:rPr>
                        <a:t>Palo Alto Networks Systems </a:t>
                      </a:r>
                      <a:r>
                        <a:rPr lang="cs-CZ" sz="1100" b="1" kern="1200" dirty="0" err="1">
                          <a:solidFill>
                            <a:schemeClr val="bg2"/>
                          </a:solidFill>
                          <a:latin typeface="+mn-lt"/>
                          <a:ea typeface="+mn-ea"/>
                          <a:cs typeface="+mn-cs"/>
                          <a:hlinkClick r:id="rId10">
                            <a:extLst>
                              <a:ext uri="{A12FA001-AC4F-418D-AE19-62706E023703}">
                                <ahyp:hlinkClr xmlns:ahyp="http://schemas.microsoft.com/office/drawing/2018/hyperlinkcolor" val="tx"/>
                              </a:ext>
                            </a:extLst>
                          </a:hlinkClick>
                        </a:rPr>
                        <a:t>Engineer</a:t>
                      </a:r>
                      <a:r>
                        <a:rPr lang="cs-CZ" sz="1100" b="1" kern="1200" dirty="0">
                          <a:solidFill>
                            <a:schemeClr val="bg2"/>
                          </a:solidFill>
                          <a:latin typeface="+mn-lt"/>
                          <a:ea typeface="+mn-ea"/>
                          <a:cs typeface="+mn-cs"/>
                          <a:hlinkClick r:id="rId10">
                            <a:extLst>
                              <a:ext uri="{A12FA001-AC4F-418D-AE19-62706E023703}">
                                <ahyp:hlinkClr xmlns:ahyp="http://schemas.microsoft.com/office/drawing/2018/hyperlinkcolor" val="tx"/>
                              </a:ext>
                            </a:extLst>
                          </a:hlinkClick>
                        </a:rPr>
                        <a:t> (PSE): Software Firewall Professional</a:t>
                      </a:r>
                      <a:endParaRPr sz="1100" b="1" kern="1200" dirty="0">
                        <a:solidFill>
                          <a:schemeClr val="bg2"/>
                        </a:solidFill>
                        <a:latin typeface="+mn-lt"/>
                        <a:ea typeface="+mn-ea"/>
                        <a:cs typeface="+mn-cs"/>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a:t>
                      </a:r>
                      <a:r>
                        <a:rPr lang="en-US" sz="1100" b="1" kern="1200" dirty="0">
                          <a:solidFill>
                            <a:schemeClr val="bg2"/>
                          </a:solidFill>
                          <a:latin typeface="+mn-lt"/>
                          <a:ea typeface="+mn-ea"/>
                          <a:cs typeface="+mn-cs"/>
                          <a:hlinkClick r:id="rId11">
                            <a:extLst>
                              <a:ext uri="{A12FA001-AC4F-418D-AE19-62706E023703}">
                                <ahyp:hlinkClr xmlns:ahyp="http://schemas.microsoft.com/office/drawing/2018/hyperlinkcolor" val="tx"/>
                              </a:ext>
                            </a:extLst>
                          </a:hlinkClick>
                        </a:rPr>
                        <a:t>Palo Alto Networks Systems Engineer (PSE): SASE Professional</a:t>
                      </a:r>
                      <a:endParaRPr sz="1100" b="1" kern="1200" dirty="0">
                        <a:solidFill>
                          <a:schemeClr val="bg2"/>
                        </a:solidFill>
                        <a:latin typeface="+mn-lt"/>
                        <a:ea typeface="+mn-ea"/>
                        <a:cs typeface="+mn-cs"/>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a:t>
                      </a:r>
                      <a:r>
                        <a:rPr lang="cs-CZ" sz="1100" b="1" kern="1200" dirty="0">
                          <a:solidFill>
                            <a:schemeClr val="bg2"/>
                          </a:solidFill>
                          <a:latin typeface="+mn-lt"/>
                          <a:ea typeface="+mn-ea"/>
                          <a:cs typeface="+mn-cs"/>
                          <a:hlinkClick r:id="rId12">
                            <a:extLst>
                              <a:ext uri="{A12FA001-AC4F-418D-AE19-62706E023703}">
                                <ahyp:hlinkClr xmlns:ahyp="http://schemas.microsoft.com/office/drawing/2018/hyperlinkcolor" val="tx"/>
                              </a:ext>
                            </a:extLst>
                          </a:hlinkClick>
                        </a:rPr>
                        <a:t>Palo Alto Networks Systems </a:t>
                      </a:r>
                      <a:r>
                        <a:rPr lang="cs-CZ" sz="1100" b="1" kern="1200" dirty="0" err="1">
                          <a:solidFill>
                            <a:schemeClr val="bg2"/>
                          </a:solidFill>
                          <a:latin typeface="+mn-lt"/>
                          <a:ea typeface="+mn-ea"/>
                          <a:cs typeface="+mn-cs"/>
                          <a:hlinkClick r:id="rId12">
                            <a:extLst>
                              <a:ext uri="{A12FA001-AC4F-418D-AE19-62706E023703}">
                                <ahyp:hlinkClr xmlns:ahyp="http://schemas.microsoft.com/office/drawing/2018/hyperlinkcolor" val="tx"/>
                              </a:ext>
                            </a:extLst>
                          </a:hlinkClick>
                        </a:rPr>
                        <a:t>Engineer</a:t>
                      </a:r>
                      <a:r>
                        <a:rPr lang="cs-CZ" sz="1100" b="1" kern="1200" dirty="0">
                          <a:solidFill>
                            <a:schemeClr val="bg2"/>
                          </a:solidFill>
                          <a:latin typeface="+mn-lt"/>
                          <a:ea typeface="+mn-ea"/>
                          <a:cs typeface="+mn-cs"/>
                          <a:hlinkClick r:id="rId12">
                            <a:extLst>
                              <a:ext uri="{A12FA001-AC4F-418D-AE19-62706E023703}">
                                <ahyp:hlinkClr xmlns:ahyp="http://schemas.microsoft.com/office/drawing/2018/hyperlinkcolor" val="tx"/>
                              </a:ext>
                            </a:extLst>
                          </a:hlinkClick>
                        </a:rPr>
                        <a:t> (PSE): Prisma Cloud Professional</a:t>
                      </a:r>
                      <a:endParaRPr sz="1100" b="1" kern="1200" dirty="0">
                        <a:solidFill>
                          <a:schemeClr val="bg2"/>
                        </a:solidFill>
                        <a:latin typeface="+mn-lt"/>
                        <a:ea typeface="+mn-ea"/>
                        <a:cs typeface="+mn-cs"/>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a:t>
                      </a:r>
                      <a:r>
                        <a:rPr lang="en-US" sz="1100" b="1" kern="1200" dirty="0">
                          <a:solidFill>
                            <a:schemeClr val="bg2"/>
                          </a:solidFill>
                          <a:latin typeface="+mn-lt"/>
                          <a:ea typeface="+mn-ea"/>
                          <a:cs typeface="+mn-cs"/>
                          <a:hlinkClick r:id="rId13">
                            <a:extLst>
                              <a:ext uri="{A12FA001-AC4F-418D-AE19-62706E023703}">
                                <ahyp:hlinkClr xmlns:ahyp="http://schemas.microsoft.com/office/drawing/2018/hyperlinkcolor" val="tx"/>
                              </a:ext>
                            </a:extLst>
                          </a:hlinkClick>
                        </a:rPr>
                        <a:t>Palo Alto Networks Systems Engineer (PSE): Cortex Professional</a:t>
                      </a:r>
                      <a:endParaRPr sz="1100" b="1" kern="1200" dirty="0">
                        <a:solidFill>
                          <a:schemeClr val="bg2"/>
                        </a:solidFill>
                        <a:latin typeface="+mn-lt"/>
                        <a:ea typeface="+mn-ea"/>
                        <a:cs typeface="+mn-cs"/>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tc>
                  <a:txBody>
                    <a:bodyPr/>
                    <a:lstStyle/>
                    <a:p>
                      <a:pPr marL="0" lvl="0" indent="0" algn="ctr" rtl="0">
                        <a:spcBef>
                          <a:spcPts val="0"/>
                        </a:spcBef>
                        <a:spcAft>
                          <a:spcPts val="0"/>
                        </a:spcAft>
                        <a:buClr>
                          <a:schemeClr val="dk1"/>
                        </a:buClr>
                        <a:buSzPts val="1100"/>
                        <a:buFont typeface="Arial"/>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a:t>
                      </a:r>
                      <a:r>
                        <a:rPr lang="en-US" sz="1100" b="1" kern="1200" dirty="0">
                          <a:solidFill>
                            <a:schemeClr val="bg2"/>
                          </a:solidFill>
                          <a:latin typeface="+mn-lt"/>
                          <a:ea typeface="+mn-ea"/>
                          <a:cs typeface="+mn-cs"/>
                          <a:hlinkClick r:id="rId13">
                            <a:extLst>
                              <a:ext uri="{A12FA001-AC4F-418D-AE19-62706E023703}">
                                <ahyp:hlinkClr xmlns:ahyp="http://schemas.microsoft.com/office/drawing/2018/hyperlinkcolor" val="tx"/>
                              </a:ext>
                            </a:extLst>
                          </a:hlinkClick>
                        </a:rPr>
                        <a:t>Palo Alto Networks Systems Engineer (PSE): Cortex Professional</a:t>
                      </a:r>
                      <a:endParaRPr sz="1100" b="1" kern="1200" dirty="0">
                        <a:solidFill>
                          <a:schemeClr val="bg2"/>
                        </a:solidFill>
                        <a:latin typeface="+mn-lt"/>
                        <a:ea typeface="+mn-ea"/>
                        <a:cs typeface="+mn-cs"/>
                        <a:sym typeface="Montserrat Extra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extLst>
                  <a:ext uri="{0D108BD9-81ED-4DB2-BD59-A6C34878D82A}">
                    <a16:rowId xmlns:a16="http://schemas.microsoft.com/office/drawing/2014/main" val="10003"/>
                  </a:ext>
                </a:extLst>
              </a:tr>
              <a:tr h="776000">
                <a:tc>
                  <a:txBody>
                    <a:bodyPr/>
                    <a:lstStyle/>
                    <a:p>
                      <a:pPr marL="0" lvl="0" indent="0" algn="l" rtl="0">
                        <a:lnSpc>
                          <a:spcPct val="115000"/>
                        </a:lnSpc>
                        <a:spcBef>
                          <a:spcPts val="0"/>
                        </a:spcBef>
                        <a:spcAft>
                          <a:spcPts val="0"/>
                        </a:spcAft>
                        <a:buClr>
                          <a:schemeClr val="dk1"/>
                        </a:buClr>
                        <a:buSzPts val="1100"/>
                        <a:buFont typeface="Arial"/>
                        <a:buNone/>
                      </a:pPr>
                      <a:r>
                        <a:rPr lang="en" sz="1200" b="1" dirty="0">
                          <a:solidFill>
                            <a:schemeClr val="accent6"/>
                          </a:solidFill>
                          <a:latin typeface="Montserrat"/>
                          <a:ea typeface="Montserrat"/>
                          <a:cs typeface="Montserrat"/>
                          <a:sym typeface="Montserrat"/>
                        </a:rPr>
                        <a:t>Technical Post-Sales</a:t>
                      </a:r>
                      <a:endParaRPr sz="1200" b="1" dirty="0">
                        <a:solidFill>
                          <a:schemeClr val="accent6"/>
                        </a:solidFill>
                        <a:latin typeface="Montserrat"/>
                        <a:ea typeface="Montserrat"/>
                        <a:cs typeface="Montserrat"/>
                        <a:sym typeface="Montserrat"/>
                      </a:endParaRPr>
                    </a:p>
                    <a:p>
                      <a:pPr marL="0" lvl="0" indent="0" algn="l" rtl="0">
                        <a:lnSpc>
                          <a:spcPct val="115000"/>
                        </a:lnSpc>
                        <a:spcBef>
                          <a:spcPts val="0"/>
                        </a:spcBef>
                        <a:spcAft>
                          <a:spcPts val="0"/>
                        </a:spcAft>
                        <a:buClr>
                          <a:schemeClr val="dk1"/>
                        </a:buClr>
                        <a:buSzPts val="1100"/>
                        <a:buFont typeface="Arial"/>
                        <a:buNone/>
                      </a:pPr>
                      <a:r>
                        <a:rPr lang="en" sz="900" dirty="0">
                          <a:solidFill>
                            <a:schemeClr val="accent6"/>
                          </a:solidFill>
                          <a:latin typeface="Montserrat"/>
                          <a:ea typeface="Montserrat"/>
                          <a:cs typeface="Montserrat"/>
                          <a:sym typeface="Montserrat"/>
                        </a:rPr>
                        <a:t># of Engineers w/Certification</a:t>
                      </a:r>
                      <a:endParaRPr sz="1100" b="1" dirty="0">
                        <a:solidFill>
                          <a:schemeClr val="accent6"/>
                        </a:solidFill>
                        <a:latin typeface="Montserrat"/>
                        <a:ea typeface="Montserrat"/>
                        <a:cs typeface="Montserrat"/>
                        <a:sym typeface="Montserrat"/>
                      </a:endParaRPr>
                    </a:p>
                  </a:txBody>
                  <a:tcPr marL="121933"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E9E9E9"/>
                    </a:solidFill>
                  </a:tcPr>
                </a:tc>
                <a:tc>
                  <a:txBody>
                    <a:bodyPr/>
                    <a:lstStyle/>
                    <a:p>
                      <a:pPr marL="0" lvl="0" indent="0" algn="ctr" rtl="0">
                        <a:spcBef>
                          <a:spcPts val="0"/>
                        </a:spcBef>
                        <a:spcAft>
                          <a:spcPts val="0"/>
                        </a:spcAft>
                        <a:buClr>
                          <a:schemeClr val="dk1"/>
                        </a:buClr>
                        <a:buSzPts val="1100"/>
                        <a:buFont typeface="Arial"/>
                        <a:buNone/>
                      </a:pPr>
                      <a:r>
                        <a:rPr lang="en" sz="1100" dirty="0">
                          <a:solidFill>
                            <a:srgbClr val="141414"/>
                          </a:solidFill>
                          <a:latin typeface="Montserrat ExtraBold"/>
                          <a:ea typeface="Montserrat ExtraBold"/>
                          <a:cs typeface="Montserrat ExtraBold"/>
                          <a:sym typeface="Montserrat ExtraBold"/>
                        </a:rPr>
                        <a:t>1</a:t>
                      </a:r>
                      <a:r>
                        <a:rPr lang="en" sz="1100" dirty="0">
                          <a:solidFill>
                            <a:srgbClr val="141414"/>
                          </a:solidFill>
                          <a:latin typeface="Montserrat SemiBold"/>
                          <a:ea typeface="Montserrat SemiBold"/>
                          <a:cs typeface="Montserrat SemiBold"/>
                          <a:sym typeface="Montserrat SemiBold"/>
                        </a:rPr>
                        <a:t> (</a:t>
                      </a:r>
                      <a:r>
                        <a:rPr lang="en-US" sz="1100" b="1" kern="1200" dirty="0">
                          <a:solidFill>
                            <a:schemeClr val="bg2"/>
                          </a:solidFill>
                          <a:latin typeface="+mn-lt"/>
                          <a:ea typeface="+mn-ea"/>
                          <a:cs typeface="+mn-cs"/>
                          <a:hlinkClick r:id="rId14">
                            <a:extLst>
                              <a:ext uri="{A12FA001-AC4F-418D-AE19-62706E023703}">
                                <ahyp:hlinkClr xmlns:ahyp="http://schemas.microsoft.com/office/drawing/2018/hyperlinkcolor" val="tx"/>
                              </a:ext>
                            </a:extLst>
                          </a:hlinkClick>
                        </a:rPr>
                        <a:t>PCNSE</a:t>
                      </a:r>
                      <a:r>
                        <a:rPr lang="en" sz="1100" b="1" kern="1200" dirty="0">
                          <a:solidFill>
                            <a:schemeClr val="bg2"/>
                          </a:solidFill>
                          <a:latin typeface="+mn-lt"/>
                          <a:ea typeface="+mn-ea"/>
                          <a:cs typeface="+mn-cs"/>
                          <a:sym typeface="Montserrat SemiBold"/>
                        </a:rPr>
                        <a:t> or </a:t>
                      </a:r>
                      <a:r>
                        <a:rPr lang="cs-CZ" sz="1100" b="1" kern="1200" dirty="0">
                          <a:solidFill>
                            <a:schemeClr val="bg2"/>
                          </a:solidFill>
                          <a:latin typeface="+mn-lt"/>
                          <a:ea typeface="+mn-ea"/>
                          <a:cs typeface="+mn-cs"/>
                          <a:hlinkClick r:id="rId15">
                            <a:extLst>
                              <a:ext uri="{A12FA001-AC4F-418D-AE19-62706E023703}">
                                <ahyp:hlinkClr xmlns:ahyp="http://schemas.microsoft.com/office/drawing/2018/hyperlinkcolor" val="tx"/>
                              </a:ext>
                            </a:extLst>
                          </a:hlinkClick>
                        </a:rPr>
                        <a:t>PCNSC</a:t>
                      </a:r>
                      <a:r>
                        <a:rPr lang="en" sz="1100" b="1" kern="1200" dirty="0">
                          <a:solidFill>
                            <a:schemeClr val="bg2"/>
                          </a:solidFill>
                          <a:latin typeface="+mn-lt"/>
                          <a:ea typeface="+mn-ea"/>
                          <a:cs typeface="+mn-cs"/>
                          <a:sym typeface="Montserrat SemiBold"/>
                        </a:rPr>
                        <a:t>)</a:t>
                      </a:r>
                      <a:endParaRPr sz="1100" b="1" kern="1200" dirty="0">
                        <a:solidFill>
                          <a:schemeClr val="bg2"/>
                        </a:solidFill>
                        <a:latin typeface="+mn-lt"/>
                        <a:ea typeface="+mn-ea"/>
                        <a:cs typeface="+mn-cs"/>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Clr>
                          <a:schemeClr val="dk1"/>
                        </a:buClr>
                        <a:buSzPts val="1100"/>
                        <a:buFont typeface="Arial"/>
                        <a:buNone/>
                      </a:pPr>
                      <a:r>
                        <a:rPr lang="en" sz="1100" b="1" kern="1200">
                          <a:solidFill>
                            <a:schemeClr val="bg2"/>
                          </a:solidFill>
                          <a:latin typeface="+mn-lt"/>
                          <a:ea typeface="+mn-ea"/>
                          <a:cs typeface="+mn-cs"/>
                          <a:sym typeface="Montserrat ExtraBold"/>
                        </a:rPr>
                        <a:t>1</a:t>
                      </a:r>
                      <a:r>
                        <a:rPr lang="en" sz="1100" b="1" kern="1200">
                          <a:solidFill>
                            <a:schemeClr val="bg2"/>
                          </a:solidFill>
                          <a:latin typeface="+mn-lt"/>
                          <a:ea typeface="+mn-ea"/>
                          <a:cs typeface="+mn-cs"/>
                          <a:sym typeface="Montserrat SemiBold"/>
                        </a:rPr>
                        <a:t> (</a:t>
                      </a:r>
                      <a:r>
                        <a:rPr lang="en-US" sz="1100" b="1" kern="1200">
                          <a:solidFill>
                            <a:schemeClr val="bg2"/>
                          </a:solidFill>
                          <a:latin typeface="+mn-lt"/>
                          <a:ea typeface="+mn-ea"/>
                          <a:cs typeface="+mn-cs"/>
                          <a:hlinkClick r:id="rId14">
                            <a:extLst>
                              <a:ext uri="{A12FA001-AC4F-418D-AE19-62706E023703}">
                                <ahyp:hlinkClr xmlns:ahyp="http://schemas.microsoft.com/office/drawing/2018/hyperlinkcolor" val="tx"/>
                              </a:ext>
                            </a:extLst>
                          </a:hlinkClick>
                        </a:rPr>
                        <a:t>PCNSE</a:t>
                      </a:r>
                      <a:r>
                        <a:rPr lang="en" sz="1100" b="1" kern="1200">
                          <a:solidFill>
                            <a:schemeClr val="bg2"/>
                          </a:solidFill>
                          <a:latin typeface="+mn-lt"/>
                          <a:ea typeface="+mn-ea"/>
                          <a:cs typeface="+mn-cs"/>
                          <a:sym typeface="Montserrat SemiBold"/>
                        </a:rPr>
                        <a:t> or </a:t>
                      </a:r>
                      <a:r>
                        <a:rPr lang="cs-CZ" sz="1100" b="1" kern="1200">
                          <a:solidFill>
                            <a:schemeClr val="bg2"/>
                          </a:solidFill>
                          <a:latin typeface="+mn-lt"/>
                          <a:ea typeface="+mn-ea"/>
                          <a:cs typeface="+mn-cs"/>
                          <a:hlinkClick r:id="rId15">
                            <a:extLst>
                              <a:ext uri="{A12FA001-AC4F-418D-AE19-62706E023703}">
                                <ahyp:hlinkClr xmlns:ahyp="http://schemas.microsoft.com/office/drawing/2018/hyperlinkcolor" val="tx"/>
                              </a:ext>
                            </a:extLst>
                          </a:hlinkClick>
                        </a:rPr>
                        <a:t>PCNSC</a:t>
                      </a:r>
                      <a:r>
                        <a:rPr lang="en" sz="1100" b="1" kern="1200">
                          <a:solidFill>
                            <a:schemeClr val="bg2"/>
                          </a:solidFill>
                          <a:latin typeface="+mn-lt"/>
                          <a:ea typeface="+mn-ea"/>
                          <a:cs typeface="+mn-cs"/>
                          <a:sym typeface="Montserrat SemiBold"/>
                        </a:rPr>
                        <a:t>)</a:t>
                      </a:r>
                      <a:r>
                        <a:rPr lang="cs-CZ" sz="1100" b="1" kern="1200">
                          <a:solidFill>
                            <a:schemeClr val="bg2"/>
                          </a:solidFill>
                          <a:latin typeface="+mn-lt"/>
                          <a:ea typeface="+mn-ea"/>
                          <a:cs typeface="+mn-cs"/>
                          <a:sym typeface="Montserrat SemiBold"/>
                        </a:rPr>
                        <a:t> </a:t>
                      </a:r>
                      <a:r>
                        <a:rPr lang="en" sz="1100" b="1" kern="1200">
                          <a:solidFill>
                            <a:schemeClr val="bg2"/>
                          </a:solidFill>
                          <a:latin typeface="+mn-lt"/>
                          <a:ea typeface="+mn-ea"/>
                          <a:cs typeface="+mn-cs"/>
                          <a:sym typeface="Montserrat"/>
                        </a:rPr>
                        <a:t>and</a:t>
                      </a:r>
                      <a:r>
                        <a:rPr lang="en" sz="1100" b="1" kern="1200">
                          <a:solidFill>
                            <a:schemeClr val="bg2"/>
                          </a:solidFill>
                          <a:latin typeface="+mn-lt"/>
                          <a:ea typeface="+mn-ea"/>
                          <a:cs typeface="+mn-cs"/>
                          <a:sym typeface="Montserrat SemiBold"/>
                        </a:rPr>
                        <a:t> </a:t>
                      </a:r>
                      <a:r>
                        <a:rPr lang="en" sz="1100" b="1" kern="1200">
                          <a:solidFill>
                            <a:schemeClr val="bg2"/>
                          </a:solidFill>
                          <a:latin typeface="+mn-lt"/>
                          <a:ea typeface="+mn-ea"/>
                          <a:cs typeface="+mn-cs"/>
                          <a:sym typeface="Montserrat ExtraBold"/>
                        </a:rPr>
                        <a:t>1</a:t>
                      </a:r>
                      <a:r>
                        <a:rPr lang="en" sz="1100" b="1" kern="1200">
                          <a:solidFill>
                            <a:schemeClr val="bg2"/>
                          </a:solidFill>
                          <a:latin typeface="+mn-lt"/>
                          <a:ea typeface="+mn-ea"/>
                          <a:cs typeface="+mn-cs"/>
                          <a:sym typeface="Montserrat SemiBold"/>
                        </a:rPr>
                        <a:t> (</a:t>
                      </a:r>
                      <a:r>
                        <a:rPr lang="cs-CZ" sz="1100" b="1" kern="1200">
                          <a:solidFill>
                            <a:schemeClr val="bg2"/>
                          </a:solidFill>
                          <a:latin typeface="+mn-lt"/>
                          <a:ea typeface="+mn-ea"/>
                          <a:cs typeface="+mn-cs"/>
                          <a:hlinkClick r:id="rId16">
                            <a:extLst>
                              <a:ext uri="{A12FA001-AC4F-418D-AE19-62706E023703}">
                                <ahyp:hlinkClr xmlns:ahyp="http://schemas.microsoft.com/office/drawing/2018/hyperlinkcolor" val="tx"/>
                              </a:ext>
                            </a:extLst>
                          </a:hlinkClick>
                        </a:rPr>
                        <a:t>PMcNA</a:t>
                      </a:r>
                      <a:r>
                        <a:rPr lang="en" sz="1100" b="1" kern="1200">
                          <a:solidFill>
                            <a:schemeClr val="bg2"/>
                          </a:solidFill>
                          <a:latin typeface="+mn-lt"/>
                          <a:ea typeface="+mn-ea"/>
                          <a:cs typeface="+mn-cs"/>
                          <a:sym typeface="Montserrat SemiBold"/>
                        </a:rPr>
                        <a:t>,</a:t>
                      </a:r>
                      <a:br>
                        <a:rPr lang="en" sz="1100" b="1" kern="1200">
                          <a:solidFill>
                            <a:schemeClr val="bg2"/>
                          </a:solidFill>
                          <a:latin typeface="+mn-lt"/>
                          <a:ea typeface="+mn-ea"/>
                          <a:cs typeface="+mn-cs"/>
                          <a:sym typeface="Montserrat SemiBold"/>
                        </a:rPr>
                      </a:br>
                      <a:r>
                        <a:rPr lang="cs-CZ" sz="1100" b="1" kern="1200">
                          <a:solidFill>
                            <a:schemeClr val="bg2"/>
                          </a:solidFill>
                          <a:latin typeface="+mn-lt"/>
                          <a:ea typeface="+mn-ea"/>
                          <a:cs typeface="+mn-cs"/>
                          <a:hlinkClick r:id="rId17">
                            <a:extLst>
                              <a:ext uri="{A12FA001-AC4F-418D-AE19-62706E023703}">
                                <ahyp:hlinkClr xmlns:ahyp="http://schemas.microsoft.com/office/drawing/2018/hyperlinkcolor" val="tx"/>
                              </a:ext>
                            </a:extLst>
                          </a:hlinkClick>
                        </a:rPr>
                        <a:t>PMvNA</a:t>
                      </a:r>
                      <a:r>
                        <a:rPr lang="en" sz="1100" b="1" kern="1200">
                          <a:solidFill>
                            <a:schemeClr val="bg2"/>
                          </a:solidFill>
                          <a:latin typeface="+mn-lt"/>
                          <a:ea typeface="+mn-ea"/>
                          <a:cs typeface="+mn-cs"/>
                          <a:sym typeface="Montserrat SemiBold"/>
                        </a:rPr>
                        <a:t> or </a:t>
                      </a:r>
                      <a:r>
                        <a:rPr lang="cs-CZ" sz="1100" b="1" kern="1200">
                          <a:solidFill>
                            <a:schemeClr val="bg2"/>
                          </a:solidFill>
                          <a:latin typeface="+mn-lt"/>
                          <a:ea typeface="+mn-ea"/>
                          <a:cs typeface="+mn-cs"/>
                          <a:hlinkClick r:id="rId18">
                            <a:extLst>
                              <a:ext uri="{A12FA001-AC4F-418D-AE19-62706E023703}">
                                <ahyp:hlinkClr xmlns:ahyp="http://schemas.microsoft.com/office/drawing/2018/hyperlinkcolor" val="tx"/>
                              </a:ext>
                            </a:extLst>
                          </a:hlinkClick>
                        </a:rPr>
                        <a:t>PMkNA</a:t>
                      </a:r>
                      <a:r>
                        <a:rPr lang="en" sz="1100" b="1" kern="1200">
                          <a:solidFill>
                            <a:schemeClr val="bg2"/>
                          </a:solidFill>
                          <a:latin typeface="+mn-lt"/>
                          <a:ea typeface="+mn-ea"/>
                          <a:cs typeface="+mn-cs"/>
                          <a:sym typeface="Montserrat SemiBold"/>
                        </a:rPr>
                        <a:t>) </a:t>
                      </a:r>
                      <a:endParaRPr sz="1100" b="1" kern="1200" dirty="0">
                        <a:solidFill>
                          <a:schemeClr val="bg2"/>
                        </a:solidFill>
                        <a:latin typeface="+mn-lt"/>
                        <a:ea typeface="+mn-ea"/>
                        <a:cs typeface="+mn-cs"/>
                        <a:sym typeface="Montserrat Semi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a:t>
                      </a:r>
                      <a:r>
                        <a:rPr lang="cs-CZ" sz="1100" b="1" kern="1200" dirty="0">
                          <a:solidFill>
                            <a:schemeClr val="bg2"/>
                          </a:solidFill>
                          <a:latin typeface="+mn-lt"/>
                          <a:ea typeface="+mn-ea"/>
                          <a:cs typeface="+mn-cs"/>
                          <a:sym typeface="Montserrat SemiBold"/>
                        </a:rPr>
                        <a:t>(</a:t>
                      </a:r>
                      <a:r>
                        <a:rPr lang="pt-BR" sz="1100" b="1" kern="1200" dirty="0" err="1">
                          <a:solidFill>
                            <a:schemeClr val="bg2"/>
                          </a:solidFill>
                          <a:latin typeface="+mn-lt"/>
                          <a:ea typeface="+mn-ea"/>
                          <a:cs typeface="+mn-cs"/>
                          <a:hlinkClick r:id="rId19">
                            <a:extLst>
                              <a:ext uri="{A12FA001-AC4F-418D-AE19-62706E023703}">
                                <ahyp:hlinkClr xmlns:ahyp="http://schemas.microsoft.com/office/drawing/2018/hyperlinkcolor" val="tx"/>
                              </a:ext>
                            </a:extLst>
                          </a:hlinkClick>
                        </a:rPr>
                        <a:t>PMRuA</a:t>
                      </a:r>
                      <a:r>
                        <a:rPr lang="en" sz="1100" b="1" kern="1200" dirty="0">
                          <a:solidFill>
                            <a:schemeClr val="bg2"/>
                          </a:solidFill>
                          <a:latin typeface="+mn-lt"/>
                          <a:ea typeface="+mn-ea"/>
                          <a:cs typeface="+mn-cs"/>
                          <a:sym typeface="Montserrat SemiBold"/>
                        </a:rPr>
                        <a:t> or </a:t>
                      </a:r>
                      <a:r>
                        <a:rPr lang="cs-CZ" sz="1100" b="1" kern="1200" dirty="0" err="1">
                          <a:solidFill>
                            <a:schemeClr val="bg2"/>
                          </a:solidFill>
                          <a:latin typeface="+mn-lt"/>
                          <a:ea typeface="+mn-ea"/>
                          <a:cs typeface="+mn-cs"/>
                          <a:hlinkClick r:id="rId20">
                            <a:extLst>
                              <a:ext uri="{A12FA001-AC4F-418D-AE19-62706E023703}">
                                <ahyp:hlinkClr xmlns:ahyp="http://schemas.microsoft.com/office/drawing/2018/hyperlinkcolor" val="tx"/>
                              </a:ext>
                            </a:extLst>
                          </a:hlinkClick>
                        </a:rPr>
                        <a:t>PMRnA</a:t>
                      </a:r>
                      <a:r>
                        <a:rPr lang="en" sz="1100" b="1" kern="1200" dirty="0">
                          <a:solidFill>
                            <a:schemeClr val="bg2"/>
                          </a:solidFill>
                          <a:latin typeface="+mn-lt"/>
                          <a:ea typeface="+mn-ea"/>
                          <a:cs typeface="+mn-cs"/>
                          <a:sym typeface="Montserrat SemiBold"/>
                        </a:rPr>
                        <a:t>)</a:t>
                      </a:r>
                      <a:endParaRPr sz="1100" b="1" kern="1200" dirty="0">
                        <a:solidFill>
                          <a:schemeClr val="bg2"/>
                        </a:solidFill>
                        <a:latin typeface="+mn-lt"/>
                        <a:ea typeface="+mn-ea"/>
                        <a:cs typeface="+mn-cs"/>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a:t>
                      </a:r>
                      <a:r>
                        <a:rPr lang="cs-CZ" sz="1100" b="1" kern="1200" dirty="0">
                          <a:solidFill>
                            <a:schemeClr val="bg2"/>
                          </a:solidFill>
                          <a:latin typeface="+mn-lt"/>
                          <a:ea typeface="+mn-ea"/>
                          <a:cs typeface="+mn-cs"/>
                          <a:hlinkClick r:id="rId21">
                            <a:extLst>
                              <a:ext uri="{A12FA001-AC4F-418D-AE19-62706E023703}">
                                <ahyp:hlinkClr xmlns:ahyp="http://schemas.microsoft.com/office/drawing/2018/hyperlinkcolor" val="tx"/>
                              </a:ext>
                            </a:extLst>
                          </a:hlinkClick>
                        </a:rPr>
                        <a:t>PCCSE</a:t>
                      </a:r>
                      <a:endParaRPr sz="1100" b="1" kern="1200" dirty="0">
                        <a:solidFill>
                          <a:schemeClr val="bg2"/>
                        </a:solidFill>
                        <a:latin typeface="+mn-lt"/>
                        <a:ea typeface="+mn-ea"/>
                        <a:cs typeface="+mn-cs"/>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a:t>
                      </a:r>
                      <a:r>
                        <a:rPr lang="cs-CZ" sz="1100" b="1" kern="1200" dirty="0">
                          <a:solidFill>
                            <a:schemeClr val="bg2"/>
                          </a:solidFill>
                          <a:latin typeface="+mn-lt"/>
                          <a:ea typeface="+mn-ea"/>
                          <a:cs typeface="+mn-cs"/>
                          <a:sym typeface="Montserrat SemiBold"/>
                        </a:rPr>
                        <a:t>(</a:t>
                      </a:r>
                      <a:r>
                        <a:rPr lang="en-US" sz="1100" b="1" kern="1200" dirty="0">
                          <a:solidFill>
                            <a:schemeClr val="bg2"/>
                          </a:solidFill>
                          <a:latin typeface="+mn-lt"/>
                          <a:ea typeface="+mn-ea"/>
                          <a:cs typeface="+mn-cs"/>
                          <a:hlinkClick r:id="rId22">
                            <a:extLst>
                              <a:ext uri="{A12FA001-AC4F-418D-AE19-62706E023703}">
                                <ahyp:hlinkClr xmlns:ahyp="http://schemas.microsoft.com/office/drawing/2018/hyperlinkcolor" val="tx"/>
                              </a:ext>
                            </a:extLst>
                          </a:hlinkClick>
                        </a:rPr>
                        <a:t>PCDRA</a:t>
                      </a:r>
                      <a:r>
                        <a:rPr lang="en" sz="1100" b="1" kern="1200" dirty="0">
                          <a:solidFill>
                            <a:schemeClr val="bg2"/>
                          </a:solidFill>
                          <a:latin typeface="+mn-lt"/>
                          <a:ea typeface="+mn-ea"/>
                          <a:cs typeface="+mn-cs"/>
                          <a:sym typeface="Montserrat SemiBold"/>
                        </a:rPr>
                        <a:t>, </a:t>
                      </a:r>
                      <a:r>
                        <a:rPr lang="cs-CZ" sz="1100" b="1" kern="1200" dirty="0" err="1">
                          <a:solidFill>
                            <a:schemeClr val="bg2"/>
                          </a:solidFill>
                          <a:latin typeface="+mn-lt"/>
                          <a:ea typeface="+mn-ea"/>
                          <a:cs typeface="+mn-cs"/>
                          <a:hlinkClick r:id="rId23">
                            <a:extLst>
                              <a:ext uri="{A12FA001-AC4F-418D-AE19-62706E023703}">
                                <ahyp:hlinkClr xmlns:ahyp="http://schemas.microsoft.com/office/drawing/2018/hyperlinkcolor" val="tx"/>
                              </a:ext>
                            </a:extLst>
                          </a:hlinkClick>
                        </a:rPr>
                        <a:t>PMXdS</a:t>
                      </a:r>
                      <a:br>
                        <a:rPr lang="en" sz="1100" b="1" kern="1200" dirty="0">
                          <a:solidFill>
                            <a:schemeClr val="bg2"/>
                          </a:solidFill>
                          <a:latin typeface="+mn-lt"/>
                          <a:ea typeface="+mn-ea"/>
                          <a:cs typeface="+mn-cs"/>
                          <a:sym typeface="Montserrat SemiBold"/>
                        </a:rPr>
                      </a:br>
                      <a:r>
                        <a:rPr lang="en" sz="1100" b="1" kern="1200" dirty="0">
                          <a:solidFill>
                            <a:schemeClr val="bg2"/>
                          </a:solidFill>
                          <a:latin typeface="+mn-lt"/>
                          <a:ea typeface="+mn-ea"/>
                          <a:cs typeface="+mn-cs"/>
                          <a:sym typeface="Montserrat SemiBold"/>
                        </a:rPr>
                        <a:t>or </a:t>
                      </a:r>
                      <a:r>
                        <a:rPr lang="pt-BR" sz="1100" b="1" kern="1200" dirty="0" err="1">
                          <a:solidFill>
                            <a:schemeClr val="bg2"/>
                          </a:solidFill>
                          <a:latin typeface="+mn-lt"/>
                          <a:ea typeface="+mn-ea"/>
                          <a:cs typeface="+mn-cs"/>
                          <a:hlinkClick r:id="rId24">
                            <a:extLst>
                              <a:ext uri="{A12FA001-AC4F-418D-AE19-62706E023703}">
                                <ahyp:hlinkClr xmlns:ahyp="http://schemas.microsoft.com/office/drawing/2018/hyperlinkcolor" val="tx"/>
                              </a:ext>
                            </a:extLst>
                          </a:hlinkClick>
                        </a:rPr>
                        <a:t>PMXdC</a:t>
                      </a:r>
                      <a:r>
                        <a:rPr lang="cs-CZ" sz="1100" b="1" kern="1200" dirty="0">
                          <a:solidFill>
                            <a:schemeClr val="bg2"/>
                          </a:solidFill>
                          <a:latin typeface="+mn-lt"/>
                          <a:ea typeface="+mn-ea"/>
                          <a:cs typeface="+mn-cs"/>
                        </a:rPr>
                        <a:t> </a:t>
                      </a:r>
                      <a:r>
                        <a:rPr lang="en" sz="1100" b="1" kern="1200" dirty="0">
                          <a:solidFill>
                            <a:schemeClr val="bg2"/>
                          </a:solidFill>
                          <a:latin typeface="+mn-lt"/>
                          <a:ea typeface="+mn-ea"/>
                          <a:cs typeface="+mn-cs"/>
                          <a:sym typeface="Montserrat SemiBold"/>
                        </a:rPr>
                        <a:t>1)</a:t>
                      </a:r>
                      <a:endParaRPr sz="1100" b="1" kern="1200" dirty="0">
                        <a:solidFill>
                          <a:schemeClr val="bg2"/>
                        </a:solidFill>
                        <a:latin typeface="+mn-lt"/>
                        <a:ea typeface="+mn-ea"/>
                        <a:cs typeface="+mn-cs"/>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tc>
                  <a:txBody>
                    <a:bodyPr/>
                    <a:lstStyle/>
                    <a:p>
                      <a:pPr marL="0" lvl="0" indent="0" algn="ctr" rtl="0">
                        <a:spcBef>
                          <a:spcPts val="0"/>
                        </a:spcBef>
                        <a:spcAft>
                          <a:spcPts val="0"/>
                        </a:spcAft>
                        <a:buClr>
                          <a:schemeClr val="dk1"/>
                        </a:buClr>
                        <a:buSzPts val="1100"/>
                        <a:buFont typeface="Arial"/>
                        <a:buNone/>
                      </a:pPr>
                      <a:r>
                        <a:rPr lang="en" sz="1100" b="1" kern="1200" dirty="0">
                          <a:solidFill>
                            <a:schemeClr val="bg2"/>
                          </a:solidFill>
                          <a:latin typeface="+mn-lt"/>
                          <a:ea typeface="+mn-ea"/>
                          <a:cs typeface="+mn-cs"/>
                          <a:sym typeface="Montserrat ExtraBold"/>
                        </a:rPr>
                        <a:t>2</a:t>
                      </a:r>
                      <a:r>
                        <a:rPr lang="en" sz="1100" b="1" kern="1200" dirty="0">
                          <a:solidFill>
                            <a:schemeClr val="bg2"/>
                          </a:solidFill>
                          <a:latin typeface="+mn-lt"/>
                          <a:ea typeface="+mn-ea"/>
                          <a:cs typeface="+mn-cs"/>
                          <a:sym typeface="Montserrat SemiBold"/>
                        </a:rPr>
                        <a:t> ( </a:t>
                      </a:r>
                      <a:r>
                        <a:rPr lang="cs-CZ" sz="1100" b="1" kern="1200" dirty="0">
                          <a:solidFill>
                            <a:schemeClr val="bg2"/>
                          </a:solidFill>
                          <a:latin typeface="+mn-lt"/>
                          <a:ea typeface="+mn-ea"/>
                          <a:cs typeface="+mn-cs"/>
                          <a:hlinkClick r:id="rId25">
                            <a:extLst>
                              <a:ext uri="{A12FA001-AC4F-418D-AE19-62706E023703}">
                                <ahyp:hlinkClr xmlns:ahyp="http://schemas.microsoft.com/office/drawing/2018/hyperlinkcolor" val="tx"/>
                              </a:ext>
                            </a:extLst>
                          </a:hlinkClick>
                        </a:rPr>
                        <a:t>PCSAE</a:t>
                      </a:r>
                      <a:r>
                        <a:rPr lang="en" sz="1100" b="1" kern="1200" dirty="0">
                          <a:solidFill>
                            <a:schemeClr val="bg2"/>
                          </a:solidFill>
                          <a:latin typeface="+mn-lt"/>
                          <a:ea typeface="+mn-ea"/>
                          <a:cs typeface="+mn-cs"/>
                          <a:sym typeface="Montserrat SemiBold"/>
                        </a:rPr>
                        <a:t>or </a:t>
                      </a:r>
                      <a:r>
                        <a:rPr lang="cs-CZ" sz="1100" b="1" kern="1200" dirty="0" err="1">
                          <a:solidFill>
                            <a:schemeClr val="bg2"/>
                          </a:solidFill>
                          <a:latin typeface="+mn-lt"/>
                          <a:ea typeface="+mn-ea"/>
                          <a:cs typeface="+mn-cs"/>
                          <a:hlinkClick r:id="rId26">
                            <a:extLst>
                              <a:ext uri="{A12FA001-AC4F-418D-AE19-62706E023703}">
                                <ahyp:hlinkClr xmlns:ahyp="http://schemas.microsoft.com/office/drawing/2018/hyperlinkcolor" val="tx"/>
                              </a:ext>
                            </a:extLst>
                          </a:hlinkClick>
                        </a:rPr>
                        <a:t>PMXrC</a:t>
                      </a:r>
                      <a:r>
                        <a:rPr lang="cs-CZ" sz="1100" b="1" kern="1200" dirty="0">
                          <a:solidFill>
                            <a:schemeClr val="bg2"/>
                          </a:solidFill>
                          <a:latin typeface="+mn-lt"/>
                          <a:ea typeface="+mn-ea"/>
                          <a:cs typeface="+mn-cs"/>
                        </a:rPr>
                        <a:t> </a:t>
                      </a:r>
                      <a:r>
                        <a:rPr lang="en" sz="1100" b="1" kern="1200" dirty="0">
                          <a:solidFill>
                            <a:schemeClr val="bg2"/>
                          </a:solidFill>
                          <a:latin typeface="+mn-lt"/>
                          <a:ea typeface="+mn-ea"/>
                          <a:cs typeface="+mn-cs"/>
                          <a:sym typeface="Montserrat SemiBold"/>
                        </a:rPr>
                        <a:t>1)</a:t>
                      </a:r>
                      <a:endParaRPr sz="1100" b="1" kern="1200" dirty="0">
                        <a:solidFill>
                          <a:schemeClr val="bg2"/>
                        </a:solidFill>
                        <a:latin typeface="+mn-lt"/>
                        <a:ea typeface="+mn-ea"/>
                        <a:cs typeface="+mn-cs"/>
                        <a:sym typeface="Montserrat ExtraBold"/>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extLst>
                  <a:ext uri="{0D108BD9-81ED-4DB2-BD59-A6C34878D82A}">
                    <a16:rowId xmlns:a16="http://schemas.microsoft.com/office/drawing/2014/main" val="10004"/>
                  </a:ext>
                </a:extLst>
              </a:tr>
              <a:tr h="399867">
                <a:tc>
                  <a:txBody>
                    <a:bodyPr/>
                    <a:lstStyle/>
                    <a:p>
                      <a:pPr marL="57150" marR="0" lvl="0" indent="0" algn="l" rtl="0">
                        <a:lnSpc>
                          <a:spcPct val="100000"/>
                        </a:lnSpc>
                        <a:spcBef>
                          <a:spcPts val="0"/>
                        </a:spcBef>
                        <a:spcAft>
                          <a:spcPts val="0"/>
                        </a:spcAft>
                        <a:buClr>
                          <a:srgbClr val="000000"/>
                        </a:buClr>
                        <a:buSzPts val="700"/>
                        <a:buFont typeface="Arial"/>
                        <a:buNone/>
                      </a:pPr>
                      <a:r>
                        <a:rPr lang="en" sz="1300" b="1" dirty="0">
                          <a:solidFill>
                            <a:srgbClr val="FFFFFF"/>
                          </a:solidFill>
                          <a:latin typeface="Montserrat"/>
                          <a:ea typeface="Montserrat"/>
                          <a:cs typeface="Montserrat"/>
                          <a:sym typeface="Montserrat"/>
                        </a:rPr>
                        <a:t>Engagement</a:t>
                      </a:r>
                      <a:endParaRPr sz="1100" b="1" u="none" strike="noStrike" cap="none" dirty="0">
                        <a:latin typeface="Montserrat"/>
                        <a:ea typeface="Montserrat"/>
                        <a:cs typeface="Montserrat"/>
                        <a:sym typeface="Montserrat"/>
                      </a:endParaRPr>
                    </a:p>
                  </a:txBody>
                  <a:tcPr marL="121933" marR="24400" marT="36567" marB="36567" anchor="ctr">
                    <a:lnL w="9525" cap="flat" cmpd="sng">
                      <a:solidFill>
                        <a:srgbClr val="CCCCCC"/>
                      </a:solidFill>
                      <a:prstDash val="solid"/>
                      <a:round/>
                      <a:headEnd type="none" w="sm" len="sm"/>
                      <a:tailEnd type="none" w="sm" len="sm"/>
                    </a:lnL>
                    <a:lnR w="9525" cap="flat" cmpd="sng">
                      <a:solidFill>
                        <a:schemeClr val="dk2"/>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None/>
                      </a:pPr>
                      <a:endParaRPr sz="800" b="1" u="none" strike="noStrike" cap="none" dirty="0">
                        <a:solidFill>
                          <a:srgbClr val="FFFFFF"/>
                        </a:solidFill>
                        <a:latin typeface="Montserrat"/>
                        <a:ea typeface="Montserrat"/>
                        <a:cs typeface="Montserrat"/>
                        <a:sym typeface="Montserrat"/>
                      </a:endParaRPr>
                    </a:p>
                  </a:txBody>
                  <a:tcPr marL="24400" marR="2440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None/>
                      </a:pPr>
                      <a:endParaRPr sz="800" b="1" u="none" strike="noStrike" cap="none">
                        <a:solidFill>
                          <a:srgbClr val="FFFFFF"/>
                        </a:solidFill>
                        <a:latin typeface="Montserrat"/>
                        <a:ea typeface="Montserrat"/>
                        <a:cs typeface="Montserrat"/>
                        <a:sym typeface="Montserrat"/>
                      </a:endParaRPr>
                    </a:p>
                  </a:txBody>
                  <a:tcPr marL="24400" marR="2440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Clr>
                          <a:srgbClr val="000000"/>
                        </a:buClr>
                        <a:buSzPts val="600"/>
                        <a:buFont typeface="Arial"/>
                        <a:buNone/>
                      </a:pPr>
                      <a:endParaRPr sz="800" b="1" u="none" strike="noStrike" cap="none" dirty="0">
                        <a:solidFill>
                          <a:srgbClr val="FFFFFF"/>
                        </a:solidFill>
                        <a:latin typeface="Montserrat"/>
                        <a:ea typeface="Montserrat"/>
                        <a:cs typeface="Montserrat"/>
                        <a:sym typeface="Montserrat"/>
                      </a:endParaRPr>
                    </a:p>
                  </a:txBody>
                  <a:tcPr marL="24400" marR="2440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Clr>
                          <a:srgbClr val="000000"/>
                        </a:buClr>
                        <a:buSzPts val="600"/>
                        <a:buFont typeface="Arial"/>
                        <a:buNone/>
                      </a:pPr>
                      <a:endParaRPr sz="800" b="1" i="0" u="none" strike="noStrike" cap="none" dirty="0">
                        <a:solidFill>
                          <a:srgbClr val="FFFFFF"/>
                        </a:solidFill>
                        <a:latin typeface="Montserrat"/>
                        <a:ea typeface="Montserrat"/>
                        <a:cs typeface="Montserrat"/>
                        <a:sym typeface="Montserrat"/>
                      </a:endParaRPr>
                    </a:p>
                  </a:txBody>
                  <a:tcPr marL="24400" marR="2440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Clr>
                          <a:srgbClr val="000000"/>
                        </a:buClr>
                        <a:buSzPts val="600"/>
                        <a:buFont typeface="Arial"/>
                        <a:buNone/>
                      </a:pPr>
                      <a:endParaRPr sz="800" b="1" i="0" u="none" strike="noStrike" cap="none" dirty="0">
                        <a:solidFill>
                          <a:srgbClr val="FFFFFF"/>
                        </a:solidFill>
                        <a:latin typeface="Montserrat"/>
                        <a:ea typeface="Montserrat"/>
                        <a:cs typeface="Montserrat"/>
                        <a:sym typeface="Montserrat"/>
                      </a:endParaRPr>
                    </a:p>
                  </a:txBody>
                  <a:tcPr marL="24400" marR="24400" marT="36567" marB="36567" anchor="ctr">
                    <a:lnL w="9525" cap="flat" cmpd="sng">
                      <a:solidFill>
                        <a:schemeClr val="dk2"/>
                      </a:solidFill>
                      <a:prstDash val="solid"/>
                      <a:round/>
                      <a:headEnd type="none" w="sm" len="sm"/>
                      <a:tailEnd type="none" w="sm" len="sm"/>
                    </a:lnL>
                    <a:lnR w="9525" cap="flat" cmpd="sng">
                      <a:solidFill>
                        <a:schemeClr val="dk2"/>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tc>
                  <a:txBody>
                    <a:bodyPr/>
                    <a:lstStyle/>
                    <a:p>
                      <a:pPr marL="0" marR="0" lvl="0" indent="0" algn="ctr" rtl="0">
                        <a:lnSpc>
                          <a:spcPct val="100000"/>
                        </a:lnSpc>
                        <a:spcBef>
                          <a:spcPts val="0"/>
                        </a:spcBef>
                        <a:spcAft>
                          <a:spcPts val="0"/>
                        </a:spcAft>
                        <a:buNone/>
                      </a:pPr>
                      <a:endParaRPr sz="800" b="1" i="0" u="none" strike="noStrike" cap="none" dirty="0">
                        <a:solidFill>
                          <a:srgbClr val="FFFFFF"/>
                        </a:solidFill>
                        <a:latin typeface="Montserrat"/>
                        <a:ea typeface="Montserrat"/>
                        <a:cs typeface="Montserrat"/>
                        <a:sym typeface="Montserrat"/>
                      </a:endParaRPr>
                    </a:p>
                  </a:txBody>
                  <a:tcPr marL="24400" marR="24400" marT="36567" marB="36567" anchor="ctr">
                    <a:lnL w="9525" cap="flat" cmpd="sng">
                      <a:solidFill>
                        <a:schemeClr val="dk2"/>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5758"/>
                    </a:solidFill>
                  </a:tcPr>
                </a:tc>
                <a:extLst>
                  <a:ext uri="{0D108BD9-81ED-4DB2-BD59-A6C34878D82A}">
                    <a16:rowId xmlns:a16="http://schemas.microsoft.com/office/drawing/2014/main" val="10005"/>
                  </a:ext>
                </a:extLst>
              </a:tr>
              <a:tr h="682067">
                <a:tc>
                  <a:txBody>
                    <a:bodyPr/>
                    <a:lstStyle/>
                    <a:p>
                      <a:pPr marL="0" lvl="0" indent="0" algn="l" rtl="0">
                        <a:lnSpc>
                          <a:spcPct val="115000"/>
                        </a:lnSpc>
                        <a:spcBef>
                          <a:spcPts val="0"/>
                        </a:spcBef>
                        <a:spcAft>
                          <a:spcPts val="0"/>
                        </a:spcAft>
                        <a:buNone/>
                      </a:pPr>
                      <a:r>
                        <a:rPr lang="en" sz="1200" b="1" dirty="0">
                          <a:solidFill>
                            <a:schemeClr val="accent6"/>
                          </a:solidFill>
                          <a:latin typeface="Montserrat"/>
                          <a:ea typeface="Montserrat"/>
                          <a:cs typeface="Montserrat"/>
                          <a:sym typeface="Montserrat"/>
                        </a:rPr>
                        <a:t>Customer Activity</a:t>
                      </a:r>
                      <a:endParaRPr sz="2100" dirty="0">
                        <a:solidFill>
                          <a:schemeClr val="accent6"/>
                        </a:solidFill>
                      </a:endParaRPr>
                    </a:p>
                  </a:txBody>
                  <a:tcPr marL="121933"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E9E9E9"/>
                    </a:solidFill>
                  </a:tcPr>
                </a:tc>
                <a:tc>
                  <a:txBody>
                    <a:bodyPr/>
                    <a:lstStyle/>
                    <a:p>
                      <a:pPr marL="0" lvl="0" indent="0" algn="ctr" rtl="0">
                        <a:spcBef>
                          <a:spcPts val="0"/>
                        </a:spcBef>
                        <a:spcAft>
                          <a:spcPts val="0"/>
                        </a:spcAft>
                        <a:buNone/>
                      </a:pPr>
                      <a:r>
                        <a:rPr lang="en" sz="1100" dirty="0">
                          <a:solidFill>
                            <a:srgbClr val="141414"/>
                          </a:solidFill>
                          <a:latin typeface="Montserrat ExtraBold"/>
                          <a:ea typeface="Montserrat ExtraBold"/>
                          <a:cs typeface="Montserrat ExtraBold"/>
                          <a:sym typeface="Montserrat ExtraBold"/>
                        </a:rPr>
                        <a:t>20</a:t>
                      </a:r>
                      <a:r>
                        <a:rPr lang="en" sz="1100" dirty="0">
                          <a:solidFill>
                            <a:srgbClr val="141414"/>
                          </a:solidFill>
                          <a:latin typeface="Montserrat SemiBold"/>
                          <a:ea typeface="Montserrat SemiBold"/>
                          <a:cs typeface="Montserrat SemiBold"/>
                          <a:sym typeface="Montserrat SemiBold"/>
                        </a:rPr>
                        <a:t> Engagement</a:t>
                      </a:r>
                      <a:br>
                        <a:rPr lang="en" sz="1100" dirty="0">
                          <a:solidFill>
                            <a:srgbClr val="141414"/>
                          </a:solidFill>
                          <a:latin typeface="Montserrat SemiBold"/>
                          <a:ea typeface="Montserrat SemiBold"/>
                          <a:cs typeface="Montserrat SemiBold"/>
                          <a:sym typeface="Montserrat SemiBold"/>
                        </a:rPr>
                      </a:br>
                      <a:r>
                        <a:rPr lang="en" sz="1100" dirty="0">
                          <a:solidFill>
                            <a:srgbClr val="141414"/>
                          </a:solidFill>
                          <a:latin typeface="Montserrat SemiBold"/>
                          <a:ea typeface="Montserrat SemiBold"/>
                          <a:cs typeface="Montserrat SemiBold"/>
                          <a:sym typeface="Montserrat SemiBold"/>
                        </a:rPr>
                        <a:t>Points</a:t>
                      </a:r>
                      <a:endParaRPr sz="1100" b="1" dirty="0">
                        <a:solidFill>
                          <a:srgbClr val="141414"/>
                        </a:solidFill>
                        <a:latin typeface="Montserrat"/>
                        <a:ea typeface="Montserrat"/>
                        <a:cs typeface="Montserrat"/>
                        <a:sym typeface="Montserrat"/>
                      </a:endParaRPr>
                    </a:p>
                  </a:txBody>
                  <a:tcPr marL="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Clr>
                          <a:schemeClr val="dk1"/>
                        </a:buClr>
                        <a:buSzPts val="1100"/>
                        <a:buFont typeface="Arial"/>
                        <a:buNone/>
                      </a:pPr>
                      <a:r>
                        <a:rPr lang="en" sz="1100" dirty="0">
                          <a:solidFill>
                            <a:srgbClr val="141414"/>
                          </a:solidFill>
                          <a:latin typeface="Montserrat ExtraBold"/>
                          <a:ea typeface="Montserrat ExtraBold"/>
                          <a:cs typeface="Montserrat ExtraBold"/>
                          <a:sym typeface="Montserrat ExtraBold"/>
                        </a:rPr>
                        <a:t>20</a:t>
                      </a:r>
                      <a:r>
                        <a:rPr lang="en" sz="1100" dirty="0">
                          <a:solidFill>
                            <a:srgbClr val="141414"/>
                          </a:solidFill>
                          <a:latin typeface="Montserrat SemiBold"/>
                          <a:ea typeface="Montserrat SemiBold"/>
                          <a:cs typeface="Montserrat SemiBold"/>
                          <a:sym typeface="Montserrat SemiBold"/>
                        </a:rPr>
                        <a:t> Engagement Points</a:t>
                      </a:r>
                      <a:r>
                        <a:rPr lang="en" sz="1100" baseline="30000" dirty="0">
                          <a:solidFill>
                            <a:srgbClr val="141414"/>
                          </a:solidFill>
                          <a:latin typeface="Montserrat SemiBold"/>
                          <a:ea typeface="Montserrat SemiBold"/>
                          <a:cs typeface="Montserrat SemiBold"/>
                          <a:sym typeface="Montserrat SemiBold"/>
                        </a:rPr>
                        <a:t>2</a:t>
                      </a:r>
                      <a:endParaRPr sz="1100" i="0" u="none" strike="noStrike" cap="none" baseline="30000" dirty="0">
                        <a:solidFill>
                          <a:srgbClr val="141414"/>
                        </a:solidFill>
                        <a:latin typeface="Montserrat"/>
                        <a:ea typeface="Montserrat"/>
                        <a:cs typeface="Montserrat"/>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FFC000"/>
                    </a:solidFill>
                  </a:tcPr>
                </a:tc>
                <a:tc>
                  <a:txBody>
                    <a:bodyPr/>
                    <a:lstStyle/>
                    <a:p>
                      <a:pPr marL="0" lvl="0" indent="0" algn="ctr" rtl="0">
                        <a:spcBef>
                          <a:spcPts val="0"/>
                        </a:spcBef>
                        <a:spcAft>
                          <a:spcPts val="0"/>
                        </a:spcAft>
                        <a:buClr>
                          <a:schemeClr val="dk1"/>
                        </a:buClr>
                        <a:buSzPts val="1100"/>
                        <a:buFont typeface="Arial"/>
                        <a:buNone/>
                      </a:pPr>
                      <a:r>
                        <a:rPr lang="en" sz="1100" dirty="0">
                          <a:solidFill>
                            <a:srgbClr val="141414"/>
                          </a:solidFill>
                          <a:latin typeface="Montserrat ExtraBold"/>
                          <a:ea typeface="Montserrat ExtraBold"/>
                          <a:cs typeface="Montserrat ExtraBold"/>
                          <a:sym typeface="Montserrat ExtraBold"/>
                        </a:rPr>
                        <a:t>20</a:t>
                      </a:r>
                      <a:r>
                        <a:rPr lang="en" sz="1100" dirty="0">
                          <a:solidFill>
                            <a:srgbClr val="141414"/>
                          </a:solidFill>
                          <a:latin typeface="Montserrat SemiBold"/>
                          <a:ea typeface="Montserrat SemiBold"/>
                          <a:cs typeface="Montserrat SemiBold"/>
                          <a:sym typeface="Montserrat SemiBold"/>
                        </a:rPr>
                        <a:t> Engagement Points</a:t>
                      </a:r>
                      <a:r>
                        <a:rPr lang="en" sz="1100" baseline="30000" dirty="0">
                          <a:solidFill>
                            <a:srgbClr val="141414"/>
                          </a:solidFill>
                          <a:latin typeface="Montserrat SemiBold"/>
                          <a:ea typeface="Montserrat SemiBold"/>
                          <a:cs typeface="Montserrat SemiBold"/>
                          <a:sym typeface="Montserrat SemiBold"/>
                        </a:rPr>
                        <a:t>2</a:t>
                      </a:r>
                      <a:endParaRPr sz="1100" u="none" strike="noStrike" cap="none" dirty="0">
                        <a:latin typeface="Montserrat"/>
                        <a:ea typeface="Montserrat"/>
                        <a:cs typeface="Montserrat"/>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Clr>
                          <a:schemeClr val="dk1"/>
                        </a:buClr>
                        <a:buSzPts val="1100"/>
                        <a:buFont typeface="Arial"/>
                        <a:buNone/>
                      </a:pPr>
                      <a:r>
                        <a:rPr lang="en" sz="1100" dirty="0">
                          <a:solidFill>
                            <a:srgbClr val="141414"/>
                          </a:solidFill>
                          <a:latin typeface="Montserrat ExtraBold"/>
                          <a:ea typeface="Montserrat ExtraBold"/>
                          <a:cs typeface="Montserrat ExtraBold"/>
                          <a:sym typeface="Montserrat ExtraBold"/>
                        </a:rPr>
                        <a:t>20</a:t>
                      </a:r>
                      <a:r>
                        <a:rPr lang="en" sz="1100" dirty="0">
                          <a:solidFill>
                            <a:srgbClr val="141414"/>
                          </a:solidFill>
                          <a:latin typeface="Montserrat SemiBold"/>
                          <a:ea typeface="Montserrat SemiBold"/>
                          <a:cs typeface="Montserrat SemiBold"/>
                          <a:sym typeface="Montserrat SemiBold"/>
                        </a:rPr>
                        <a:t> Engagement Points</a:t>
                      </a:r>
                      <a:r>
                        <a:rPr lang="en" sz="1100" baseline="30000" dirty="0">
                          <a:solidFill>
                            <a:srgbClr val="141414"/>
                          </a:solidFill>
                          <a:latin typeface="Montserrat SemiBold"/>
                          <a:ea typeface="Montserrat SemiBold"/>
                          <a:cs typeface="Montserrat SemiBold"/>
                          <a:sym typeface="Montserrat SemiBold"/>
                        </a:rPr>
                        <a:t>2</a:t>
                      </a:r>
                      <a:endParaRPr sz="1100" u="none" strike="noStrike" cap="none" dirty="0">
                        <a:latin typeface="Montserrat"/>
                        <a:ea typeface="Montserrat"/>
                        <a:cs typeface="Montserrat"/>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ED6"/>
                    </a:solidFill>
                  </a:tcPr>
                </a:tc>
                <a:tc>
                  <a:txBody>
                    <a:bodyPr/>
                    <a:lstStyle/>
                    <a:p>
                      <a:pPr marL="0" lvl="0" indent="0" algn="ctr" rtl="0">
                        <a:spcBef>
                          <a:spcPts val="0"/>
                        </a:spcBef>
                        <a:spcAft>
                          <a:spcPts val="0"/>
                        </a:spcAft>
                        <a:buClr>
                          <a:schemeClr val="dk1"/>
                        </a:buClr>
                        <a:buSzPts val="1100"/>
                        <a:buFont typeface="Arial"/>
                        <a:buNone/>
                      </a:pPr>
                      <a:r>
                        <a:rPr lang="en" sz="1100">
                          <a:solidFill>
                            <a:srgbClr val="141414"/>
                          </a:solidFill>
                          <a:latin typeface="Montserrat ExtraBold"/>
                          <a:ea typeface="Montserrat ExtraBold"/>
                          <a:cs typeface="Montserrat ExtraBold"/>
                          <a:sym typeface="Montserrat ExtraBold"/>
                        </a:rPr>
                        <a:t>20</a:t>
                      </a:r>
                      <a:r>
                        <a:rPr lang="en" sz="1100">
                          <a:solidFill>
                            <a:srgbClr val="141414"/>
                          </a:solidFill>
                          <a:latin typeface="Montserrat SemiBold"/>
                          <a:ea typeface="Montserrat SemiBold"/>
                          <a:cs typeface="Montserrat SemiBold"/>
                          <a:sym typeface="Montserrat SemiBold"/>
                        </a:rPr>
                        <a:t> Engagement Points</a:t>
                      </a:r>
                      <a:r>
                        <a:rPr lang="en" sz="1100" baseline="30000">
                          <a:solidFill>
                            <a:srgbClr val="141414"/>
                          </a:solidFill>
                          <a:latin typeface="Montserrat SemiBold"/>
                          <a:ea typeface="Montserrat SemiBold"/>
                          <a:cs typeface="Montserrat SemiBold"/>
                          <a:sym typeface="Montserrat SemiBold"/>
                        </a:rPr>
                        <a:t>2</a:t>
                      </a:r>
                      <a:endParaRPr sz="1100" u="none" strike="noStrike" cap="none">
                        <a:latin typeface="Montserrat"/>
                        <a:ea typeface="Montserrat"/>
                        <a:cs typeface="Montserrat"/>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tc>
                  <a:txBody>
                    <a:bodyPr/>
                    <a:lstStyle/>
                    <a:p>
                      <a:pPr marL="0" lvl="0" indent="0" algn="ctr" rtl="0">
                        <a:spcBef>
                          <a:spcPts val="0"/>
                        </a:spcBef>
                        <a:spcAft>
                          <a:spcPts val="0"/>
                        </a:spcAft>
                        <a:buClr>
                          <a:schemeClr val="dk1"/>
                        </a:buClr>
                        <a:buSzPts val="1100"/>
                        <a:buFont typeface="Arial"/>
                        <a:buNone/>
                      </a:pPr>
                      <a:r>
                        <a:rPr lang="en" sz="1100" dirty="0">
                          <a:solidFill>
                            <a:srgbClr val="141414"/>
                          </a:solidFill>
                          <a:latin typeface="Montserrat ExtraBold"/>
                          <a:ea typeface="Montserrat ExtraBold"/>
                          <a:cs typeface="Montserrat ExtraBold"/>
                          <a:sym typeface="Montserrat ExtraBold"/>
                        </a:rPr>
                        <a:t>20</a:t>
                      </a:r>
                      <a:r>
                        <a:rPr lang="en" sz="1100" dirty="0">
                          <a:solidFill>
                            <a:srgbClr val="141414"/>
                          </a:solidFill>
                          <a:latin typeface="Montserrat SemiBold"/>
                          <a:ea typeface="Montserrat SemiBold"/>
                          <a:cs typeface="Montserrat SemiBold"/>
                          <a:sym typeface="Montserrat SemiBold"/>
                        </a:rPr>
                        <a:t> Engagement Points</a:t>
                      </a:r>
                      <a:r>
                        <a:rPr lang="en" sz="1100" baseline="30000" dirty="0">
                          <a:solidFill>
                            <a:srgbClr val="141414"/>
                          </a:solidFill>
                          <a:latin typeface="Montserrat SemiBold"/>
                          <a:ea typeface="Montserrat SemiBold"/>
                          <a:cs typeface="Montserrat SemiBold"/>
                          <a:sym typeface="Montserrat SemiBold"/>
                        </a:rPr>
                        <a:t>2</a:t>
                      </a:r>
                      <a:endParaRPr sz="1100" u="none" strike="noStrike" cap="none" dirty="0">
                        <a:solidFill>
                          <a:srgbClr val="141414"/>
                        </a:solidFill>
                        <a:latin typeface="Montserrat"/>
                        <a:ea typeface="Montserrat"/>
                        <a:cs typeface="Montserrat"/>
                        <a:sym typeface="Montserrat"/>
                      </a:endParaRPr>
                    </a:p>
                  </a:txBody>
                  <a:tcPr marL="24400" marR="24400" marT="36567" marB="36567" anchor="ctr">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00B050"/>
                    </a:solidFill>
                  </a:tcPr>
                </a:tc>
                <a:extLst>
                  <a:ext uri="{0D108BD9-81ED-4DB2-BD59-A6C34878D82A}">
                    <a16:rowId xmlns:a16="http://schemas.microsoft.com/office/drawing/2014/main" val="10006"/>
                  </a:ext>
                </a:extLst>
              </a:tr>
            </a:tbl>
          </a:graphicData>
        </a:graphic>
      </p:graphicFrame>
      <p:grpSp>
        <p:nvGrpSpPr>
          <p:cNvPr id="1179" name="Google Shape;1179;p118"/>
          <p:cNvGrpSpPr/>
          <p:nvPr/>
        </p:nvGrpSpPr>
        <p:grpSpPr>
          <a:xfrm>
            <a:off x="11277600" y="-57933"/>
            <a:ext cx="1001405" cy="972333"/>
            <a:chOff x="8458200" y="-43450"/>
            <a:chExt cx="751054" cy="729250"/>
          </a:xfrm>
        </p:grpSpPr>
        <p:sp>
          <p:nvSpPr>
            <p:cNvPr id="1180" name="Google Shape;1180;p118"/>
            <p:cNvSpPr/>
            <p:nvPr/>
          </p:nvSpPr>
          <p:spPr>
            <a:xfrm rot="-5400000" flipH="1">
              <a:off x="8458200" y="0"/>
              <a:ext cx="685800" cy="685800"/>
            </a:xfrm>
            <a:prstGeom prst="rtTriangle">
              <a:avLst/>
            </a:prstGeom>
            <a:solidFill>
              <a:srgbClr val="FA582D"/>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endParaRPr sz="2400"/>
            </a:p>
          </p:txBody>
        </p:sp>
        <p:sp>
          <p:nvSpPr>
            <p:cNvPr id="1181" name="Google Shape;1181;p118"/>
            <p:cNvSpPr txBox="1"/>
            <p:nvPr/>
          </p:nvSpPr>
          <p:spPr>
            <a:xfrm rot="2701338">
              <a:off x="8644570" y="108044"/>
              <a:ext cx="544967" cy="281711"/>
            </a:xfrm>
            <a:prstGeom prst="rect">
              <a:avLst/>
            </a:prstGeom>
            <a:noFill/>
            <a:ln>
              <a:noFill/>
            </a:ln>
          </p:spPr>
          <p:txBody>
            <a:bodyPr spcFirstLastPara="1" wrap="square" lIns="121900" tIns="121900" rIns="121900" bIns="121900" anchor="b" anchorCtr="0">
              <a:noAutofit/>
            </a:bodyPr>
            <a:lstStyle/>
            <a:p>
              <a:pPr algn="ctr"/>
              <a:r>
                <a:rPr lang="en" sz="1067">
                  <a:solidFill>
                    <a:srgbClr val="FFFFFF"/>
                  </a:solidFill>
                  <a:latin typeface="Montserrat SemiBold"/>
                  <a:ea typeface="Montserrat SemiBold"/>
                  <a:cs typeface="Montserrat SemiBold"/>
                  <a:sym typeface="Montserrat SemiBold"/>
                </a:rPr>
                <a:t>NEW</a:t>
              </a:r>
              <a:endParaRPr sz="1067">
                <a:solidFill>
                  <a:srgbClr val="FFFFFF"/>
                </a:solidFill>
                <a:latin typeface="Montserrat SemiBold"/>
                <a:ea typeface="Montserrat SemiBold"/>
                <a:cs typeface="Montserrat SemiBold"/>
                <a:sym typeface="Montserrat SemiBold"/>
              </a:endParaRPr>
            </a:p>
          </p:txBody>
        </p:sp>
      </p:grpSp>
      <p:sp>
        <p:nvSpPr>
          <p:cNvPr id="1182" name="Google Shape;1182;p118"/>
          <p:cNvSpPr txBox="1"/>
          <p:nvPr/>
        </p:nvSpPr>
        <p:spPr>
          <a:xfrm>
            <a:off x="223520" y="5795900"/>
            <a:ext cx="11744800" cy="629600"/>
          </a:xfrm>
          <a:prstGeom prst="rect">
            <a:avLst/>
          </a:prstGeom>
          <a:noFill/>
          <a:ln>
            <a:noFill/>
          </a:ln>
        </p:spPr>
        <p:txBody>
          <a:bodyPr spcFirstLastPara="1" wrap="square" lIns="121900" tIns="121900" rIns="121900" bIns="121900" anchor="t" anchorCtr="0">
            <a:noAutofit/>
          </a:bodyPr>
          <a:lstStyle/>
          <a:p>
            <a:r>
              <a:rPr lang="en" sz="933" b="1" dirty="0">
                <a:latin typeface="Montserrat"/>
                <a:ea typeface="Montserrat"/>
                <a:cs typeface="Montserrat"/>
                <a:sym typeface="Montserrat"/>
              </a:rPr>
              <a:t>Note</a:t>
            </a:r>
            <a:r>
              <a:rPr lang="en" sz="933" dirty="0">
                <a:latin typeface="Montserrat Medium"/>
                <a:ea typeface="Montserrat Medium"/>
                <a:cs typeface="Montserrat Medium"/>
                <a:sym typeface="Montserrat Medium"/>
              </a:rPr>
              <a:t>: Engagement points are earned annually and reset to zero each fiscal year. For details on eligible activities, see the </a:t>
            </a:r>
            <a:r>
              <a:rPr lang="en" sz="933" u="sng" dirty="0">
                <a:solidFill>
                  <a:srgbClr val="0097A7"/>
                </a:solidFill>
                <a:latin typeface="Montserrat Medium"/>
                <a:ea typeface="Montserrat Medium"/>
                <a:cs typeface="Montserrat Medium"/>
                <a:sym typeface="Montserrat Medium"/>
                <a:hlinkClick r:id="rId27">
                  <a:extLst>
                    <a:ext uri="{A12FA001-AC4F-418D-AE19-62706E023703}">
                      <ahyp:hlinkClr xmlns:ahyp="http://schemas.microsoft.com/office/drawing/2018/hyperlinkcolor" val="tx"/>
                    </a:ext>
                  </a:extLst>
                </a:hlinkClick>
              </a:rPr>
              <a:t>Product Specializations Engagement Points Guide</a:t>
            </a:r>
            <a:r>
              <a:rPr lang="en" sz="933" dirty="0">
                <a:latin typeface="Montserrat Medium"/>
                <a:ea typeface="Montserrat Medium"/>
                <a:cs typeface="Montserrat Medium"/>
                <a:sym typeface="Montserrat Medium"/>
              </a:rPr>
              <a:t>.</a:t>
            </a:r>
            <a:endParaRPr sz="933" dirty="0">
              <a:latin typeface="Montserrat Medium"/>
              <a:ea typeface="Montserrat Medium"/>
              <a:cs typeface="Montserrat Medium"/>
              <a:sym typeface="Montserrat Medium"/>
            </a:endParaRPr>
          </a:p>
          <a:p>
            <a:r>
              <a:rPr lang="en" sz="933" baseline="30000" dirty="0">
                <a:latin typeface="Montserrat Medium"/>
                <a:ea typeface="Montserrat Medium"/>
                <a:cs typeface="Montserrat Medium"/>
                <a:sym typeface="Montserrat Medium"/>
              </a:rPr>
              <a:t>1</a:t>
            </a:r>
            <a:r>
              <a:rPr lang="en" sz="933" dirty="0">
                <a:latin typeface="Montserrat Medium"/>
                <a:ea typeface="Montserrat Medium"/>
                <a:cs typeface="Montserrat Medium"/>
                <a:sym typeface="Montserrat Medium"/>
              </a:rPr>
              <a:t>Micro-credential is for CPSP partners and requires attending an invitation-only CPSP training workshop.  |  </a:t>
            </a:r>
            <a:r>
              <a:rPr lang="en" sz="933" baseline="30000" dirty="0">
                <a:latin typeface="Montserrat Medium"/>
                <a:ea typeface="Montserrat Medium"/>
                <a:cs typeface="Montserrat Medium"/>
                <a:sym typeface="Montserrat Medium"/>
              </a:rPr>
              <a:t>2</a:t>
            </a:r>
            <a:r>
              <a:rPr lang="en" sz="933" dirty="0">
                <a:latin typeface="Montserrat Medium"/>
                <a:ea typeface="Montserrat Medium"/>
                <a:cs typeface="Montserrat Medium"/>
                <a:sym typeface="Montserrat Medium"/>
              </a:rPr>
              <a:t>Minimum of 2 customer evals via the Partner Evaluation System (PES) required per fiscal year to maintain specialization. Partners seeking to gain specialization are exempt of evals requirement but still require minimum of 20 engagement points.</a:t>
            </a:r>
            <a:endParaRPr sz="933" dirty="0">
              <a:latin typeface="Montserrat Medium"/>
              <a:ea typeface="Montserrat Medium"/>
              <a:cs typeface="Montserrat Medium"/>
              <a:sym typeface="Montserrat Medium"/>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85C964-0DB4-574D-ABFE-EF401DD6737A}"/>
              </a:ext>
            </a:extLst>
          </p:cNvPr>
          <p:cNvSpPr>
            <a:spLocks noGrp="1"/>
          </p:cNvSpPr>
          <p:nvPr>
            <p:ph type="title"/>
          </p:nvPr>
        </p:nvSpPr>
        <p:spPr/>
        <p:txBody>
          <a:bodyPr anchor="ctr">
            <a:normAutofit/>
          </a:bodyPr>
          <a:lstStyle/>
          <a:p>
            <a:r>
              <a:rPr lang="cs-CZ" dirty="0" err="1">
                <a:latin typeface="Montserrat" panose="00000500000000000000" pitchFamily="2" charset="-18"/>
              </a:rPr>
              <a:t>Engagement</a:t>
            </a:r>
            <a:r>
              <a:rPr lang="cs-CZ" dirty="0">
                <a:latin typeface="Montserrat" panose="00000500000000000000" pitchFamily="2" charset="-18"/>
              </a:rPr>
              <a:t> </a:t>
            </a:r>
            <a:r>
              <a:rPr lang="cs-CZ" dirty="0" err="1">
                <a:latin typeface="Montserrat" panose="00000500000000000000" pitchFamily="2" charset="-18"/>
              </a:rPr>
              <a:t>poins</a:t>
            </a:r>
            <a:endParaRPr lang="en-US" dirty="0">
              <a:latin typeface="Montserrat" panose="00000500000000000000" pitchFamily="2" charset="-18"/>
            </a:endParaRPr>
          </a:p>
        </p:txBody>
      </p:sp>
      <p:sp>
        <p:nvSpPr>
          <p:cNvPr id="11" name="Content Placeholder 4">
            <a:extLst>
              <a:ext uri="{FF2B5EF4-FFF2-40B4-BE49-F238E27FC236}">
                <a16:creationId xmlns:a16="http://schemas.microsoft.com/office/drawing/2014/main" id="{E2620A4D-A63B-4242-8A43-44C80CB108E9}"/>
              </a:ext>
            </a:extLst>
          </p:cNvPr>
          <p:cNvSpPr>
            <a:spLocks noGrp="1"/>
          </p:cNvSpPr>
          <p:nvPr>
            <p:ph idx="1"/>
          </p:nvPr>
        </p:nvSpPr>
        <p:spPr/>
        <p:txBody>
          <a:bodyPr>
            <a:normAutofit/>
          </a:bodyPr>
          <a:lstStyle/>
          <a:p>
            <a:pPr defTabSz="914377">
              <a:spcBef>
                <a:spcPts val="0"/>
              </a:spcBef>
              <a:spcAft>
                <a:spcPts val="600"/>
              </a:spcAft>
              <a:defRPr/>
            </a:pPr>
            <a:r>
              <a:rPr lang="en-US" dirty="0">
                <a:latin typeface="Montserrat" panose="00000500000000000000" pitchFamily="2" charset="-18"/>
              </a:rPr>
              <a:t>Partner Eval System (PES) = 2 points per Eval</a:t>
            </a:r>
            <a:endParaRPr lang="cs-CZ" dirty="0">
              <a:latin typeface="Montserrat" panose="00000500000000000000" pitchFamily="2" charset="-18"/>
            </a:endParaRPr>
          </a:p>
          <a:p>
            <a:pPr defTabSz="914377">
              <a:spcBef>
                <a:spcPts val="0"/>
              </a:spcBef>
              <a:spcAft>
                <a:spcPts val="600"/>
              </a:spcAft>
              <a:defRPr/>
            </a:pPr>
            <a:r>
              <a:rPr lang="en-US" dirty="0">
                <a:latin typeface="Montserrat" panose="00000500000000000000" pitchFamily="2" charset="-18"/>
              </a:rPr>
              <a:t>Best Practice Assessment (BPA) = 2 points per BPA</a:t>
            </a:r>
            <a:endParaRPr lang="cs-CZ" dirty="0">
              <a:latin typeface="Montserrat" panose="00000500000000000000" pitchFamily="2" charset="-18"/>
            </a:endParaRPr>
          </a:p>
          <a:p>
            <a:pPr defTabSz="914377">
              <a:spcBef>
                <a:spcPts val="0"/>
              </a:spcBef>
              <a:spcAft>
                <a:spcPts val="600"/>
              </a:spcAft>
              <a:defRPr/>
            </a:pPr>
            <a:r>
              <a:rPr lang="en-US" dirty="0">
                <a:latin typeface="Montserrat" panose="00000500000000000000" pitchFamily="2" charset="-18"/>
              </a:rPr>
              <a:t>Security Lifecycle Review (SLR) = 2 points per SLR</a:t>
            </a:r>
            <a:endParaRPr lang="cs-CZ" dirty="0">
              <a:latin typeface="Montserrat" panose="00000500000000000000" pitchFamily="2" charset="-18"/>
            </a:endParaRPr>
          </a:p>
          <a:p>
            <a:pPr defTabSz="914377">
              <a:spcBef>
                <a:spcPts val="0"/>
              </a:spcBef>
              <a:spcAft>
                <a:spcPts val="600"/>
              </a:spcAft>
              <a:defRPr/>
            </a:pPr>
            <a:r>
              <a:rPr lang="cs-CZ" dirty="0">
                <a:latin typeface="Montserrat" panose="00000500000000000000" pitchFamily="2" charset="-18"/>
              </a:rPr>
              <a:t>5 </a:t>
            </a:r>
            <a:r>
              <a:rPr lang="cs-CZ" dirty="0" err="1">
                <a:latin typeface="Montserrat" panose="00000500000000000000" pitchFamily="2" charset="-18"/>
              </a:rPr>
              <a:t>Minute</a:t>
            </a:r>
            <a:r>
              <a:rPr lang="cs-CZ" dirty="0">
                <a:latin typeface="Montserrat" panose="00000500000000000000" pitchFamily="2" charset="-18"/>
              </a:rPr>
              <a:t> Fix = 1 point per 5 </a:t>
            </a:r>
            <a:r>
              <a:rPr lang="cs-CZ" dirty="0" err="1">
                <a:latin typeface="Montserrat" panose="00000500000000000000" pitchFamily="2" charset="-18"/>
              </a:rPr>
              <a:t>Minute</a:t>
            </a:r>
            <a:r>
              <a:rPr lang="cs-CZ" dirty="0">
                <a:latin typeface="Montserrat" panose="00000500000000000000" pitchFamily="2" charset="-18"/>
              </a:rPr>
              <a:t> Fix</a:t>
            </a:r>
          </a:p>
          <a:p>
            <a:pPr defTabSz="914377">
              <a:spcBef>
                <a:spcPts val="0"/>
              </a:spcBef>
              <a:spcAft>
                <a:spcPts val="600"/>
              </a:spcAft>
              <a:defRPr/>
            </a:pPr>
            <a:r>
              <a:rPr lang="en-US" dirty="0">
                <a:latin typeface="Montserrat" panose="00000500000000000000" pitchFamily="2" charset="-18"/>
              </a:rPr>
              <a:t>Capture the Flag (CTF) = 2 points per CTF</a:t>
            </a:r>
            <a:endParaRPr lang="cs-CZ" dirty="0">
              <a:latin typeface="Montserrat" panose="00000500000000000000" pitchFamily="2" charset="-18"/>
            </a:endParaRPr>
          </a:p>
          <a:p>
            <a:pPr defTabSz="914377">
              <a:spcBef>
                <a:spcPts val="0"/>
              </a:spcBef>
              <a:spcAft>
                <a:spcPts val="600"/>
              </a:spcAft>
              <a:defRPr/>
            </a:pPr>
            <a:r>
              <a:rPr lang="en-US" dirty="0">
                <a:latin typeface="Montserrat" panose="00000500000000000000" pitchFamily="2" charset="-18"/>
              </a:rPr>
              <a:t>Ultimate Test Drive (UTD) = 2 points per UTD</a:t>
            </a:r>
            <a:endParaRPr lang="cs-CZ" dirty="0">
              <a:latin typeface="Montserrat" panose="00000500000000000000" pitchFamily="2" charset="-18"/>
            </a:endParaRPr>
          </a:p>
          <a:p>
            <a:pPr defTabSz="914377">
              <a:spcBef>
                <a:spcPts val="0"/>
              </a:spcBef>
              <a:spcAft>
                <a:spcPts val="600"/>
              </a:spcAft>
              <a:defRPr/>
            </a:pPr>
            <a:r>
              <a:rPr lang="en-US" dirty="0">
                <a:latin typeface="Montserrat" panose="00000500000000000000" pitchFamily="2" charset="-18"/>
              </a:rPr>
              <a:t>Not-for-Resale (NFR) = 1 point per NFR device / license</a:t>
            </a:r>
            <a:endParaRPr lang="cs-CZ" dirty="0">
              <a:latin typeface="Montserrat" panose="00000500000000000000" pitchFamily="2" charset="-18"/>
            </a:endParaRPr>
          </a:p>
          <a:p>
            <a:pPr marL="0" indent="0" defTabSz="914377">
              <a:spcBef>
                <a:spcPts val="0"/>
              </a:spcBef>
              <a:spcAft>
                <a:spcPts val="600"/>
              </a:spcAft>
              <a:buNone/>
              <a:defRPr/>
            </a:pPr>
            <a:endParaRPr lang="cs-CZ" sz="1050" i="1" dirty="0">
              <a:latin typeface="Montserrat" panose="00000500000000000000" pitchFamily="2" charset="-18"/>
              <a:hlinkClick r:id="rId2"/>
            </a:endParaRPr>
          </a:p>
          <a:p>
            <a:pPr marL="0" indent="0" defTabSz="914377">
              <a:spcBef>
                <a:spcPts val="0"/>
              </a:spcBef>
              <a:spcAft>
                <a:spcPts val="600"/>
              </a:spcAft>
              <a:buNone/>
              <a:defRPr/>
            </a:pPr>
            <a:endParaRPr lang="cs-CZ" sz="1050" i="1" dirty="0">
              <a:latin typeface="Montserrat" panose="00000500000000000000" pitchFamily="2" charset="-18"/>
              <a:hlinkClick r:id="rId2"/>
            </a:endParaRPr>
          </a:p>
          <a:p>
            <a:pPr marL="0" indent="0" defTabSz="914377">
              <a:spcBef>
                <a:spcPts val="0"/>
              </a:spcBef>
              <a:spcAft>
                <a:spcPts val="600"/>
              </a:spcAft>
              <a:buNone/>
              <a:defRPr/>
            </a:pPr>
            <a:r>
              <a:rPr lang="en-US" sz="1050" i="1" dirty="0">
                <a:latin typeface="Montserrat" panose="00000500000000000000" pitchFamily="2" charset="-18"/>
                <a:hlinkClick r:id="rId2"/>
              </a:rPr>
              <a:t>Product Specializations Engagement Points Guide [Updated: 4.5.2023] (paloaltonetworks.com)</a:t>
            </a:r>
            <a:endParaRPr lang="cs-CZ" sz="1050" i="1" dirty="0">
              <a:latin typeface="Montserrat" panose="00000500000000000000" pitchFamily="2" charset="-18"/>
            </a:endParaRPr>
          </a:p>
          <a:p>
            <a:pPr marL="0" indent="0" defTabSz="914377">
              <a:spcBef>
                <a:spcPts val="0"/>
              </a:spcBef>
              <a:spcAft>
                <a:spcPts val="600"/>
              </a:spcAft>
              <a:buNone/>
              <a:defRPr/>
            </a:pPr>
            <a:endParaRPr lang="cs-CZ" sz="2400" dirty="0"/>
          </a:p>
        </p:txBody>
      </p:sp>
      <p:sp>
        <p:nvSpPr>
          <p:cNvPr id="2" name="Date Placeholder 1">
            <a:extLst>
              <a:ext uri="{FF2B5EF4-FFF2-40B4-BE49-F238E27FC236}">
                <a16:creationId xmlns:a16="http://schemas.microsoft.com/office/drawing/2014/main" id="{2BF63A9F-49D7-6F49-EE9B-B5E73A2725F1}"/>
              </a:ext>
            </a:extLst>
          </p:cNvPr>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533102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83"/>
        <p:cNvGrpSpPr/>
        <p:nvPr/>
      </p:nvGrpSpPr>
      <p:grpSpPr>
        <a:xfrm>
          <a:off x="0" y="0"/>
          <a:ext cx="0" cy="0"/>
          <a:chOff x="0" y="0"/>
          <a:chExt cx="0" cy="0"/>
        </a:xfrm>
      </p:grpSpPr>
      <p:sp>
        <p:nvSpPr>
          <p:cNvPr id="1084" name="Google Shape;1084;p112"/>
          <p:cNvSpPr txBox="1">
            <a:spLocks noGrp="1"/>
          </p:cNvSpPr>
          <p:nvPr>
            <p:ph type="title"/>
          </p:nvPr>
        </p:nvSpPr>
        <p:spPr>
          <a:xfrm>
            <a:off x="415600" y="308100"/>
            <a:ext cx="11360800" cy="763600"/>
          </a:xfrm>
          <a:prstGeom prst="rect">
            <a:avLst/>
          </a:prstGeom>
        </p:spPr>
        <p:txBody>
          <a:bodyPr spcFirstLastPara="1" vert="horz" wrap="square" lIns="121900" tIns="121900" rIns="121900" bIns="121900" rtlCol="0" anchor="t" anchorCtr="0">
            <a:noAutofit/>
          </a:bodyPr>
          <a:lstStyle/>
          <a:p>
            <a:r>
              <a:rPr lang="cs-CZ" dirty="0"/>
              <a:t>Obchodní výhody</a:t>
            </a:r>
            <a:endParaRPr dirty="0"/>
          </a:p>
        </p:txBody>
      </p:sp>
      <p:graphicFrame>
        <p:nvGraphicFramePr>
          <p:cNvPr id="1086" name="Google Shape;1086;p112"/>
          <p:cNvGraphicFramePr/>
          <p:nvPr>
            <p:extLst>
              <p:ext uri="{D42A27DB-BD31-4B8C-83A1-F6EECF244321}">
                <p14:modId xmlns:p14="http://schemas.microsoft.com/office/powerpoint/2010/main" val="4043452631"/>
              </p:ext>
            </p:extLst>
          </p:nvPr>
        </p:nvGraphicFramePr>
        <p:xfrm>
          <a:off x="217500" y="1599633"/>
          <a:ext cx="11757000" cy="3279400"/>
        </p:xfrm>
        <a:graphic>
          <a:graphicData uri="http://schemas.openxmlformats.org/drawingml/2006/table">
            <a:tbl>
              <a:tblPr>
                <a:noFill/>
              </a:tblPr>
              <a:tblGrid>
                <a:gridCol w="1959500">
                  <a:extLst>
                    <a:ext uri="{9D8B030D-6E8A-4147-A177-3AD203B41FA5}">
                      <a16:colId xmlns:a16="http://schemas.microsoft.com/office/drawing/2014/main" val="20000"/>
                    </a:ext>
                  </a:extLst>
                </a:gridCol>
                <a:gridCol w="1959500">
                  <a:extLst>
                    <a:ext uri="{9D8B030D-6E8A-4147-A177-3AD203B41FA5}">
                      <a16:colId xmlns:a16="http://schemas.microsoft.com/office/drawing/2014/main" val="20001"/>
                    </a:ext>
                  </a:extLst>
                </a:gridCol>
                <a:gridCol w="1959500">
                  <a:extLst>
                    <a:ext uri="{9D8B030D-6E8A-4147-A177-3AD203B41FA5}">
                      <a16:colId xmlns:a16="http://schemas.microsoft.com/office/drawing/2014/main" val="20002"/>
                    </a:ext>
                  </a:extLst>
                </a:gridCol>
                <a:gridCol w="1959500">
                  <a:extLst>
                    <a:ext uri="{9D8B030D-6E8A-4147-A177-3AD203B41FA5}">
                      <a16:colId xmlns:a16="http://schemas.microsoft.com/office/drawing/2014/main" val="20003"/>
                    </a:ext>
                  </a:extLst>
                </a:gridCol>
                <a:gridCol w="1959500">
                  <a:extLst>
                    <a:ext uri="{9D8B030D-6E8A-4147-A177-3AD203B41FA5}">
                      <a16:colId xmlns:a16="http://schemas.microsoft.com/office/drawing/2014/main" val="20004"/>
                    </a:ext>
                  </a:extLst>
                </a:gridCol>
                <a:gridCol w="1959500">
                  <a:extLst>
                    <a:ext uri="{9D8B030D-6E8A-4147-A177-3AD203B41FA5}">
                      <a16:colId xmlns:a16="http://schemas.microsoft.com/office/drawing/2014/main" val="20005"/>
                    </a:ext>
                  </a:extLst>
                </a:gridCol>
              </a:tblGrid>
              <a:tr h="1105200">
                <a:tc>
                  <a:txBody>
                    <a:bodyPr/>
                    <a:lstStyle/>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Hardware Firewall</a:t>
                      </a:r>
                      <a:endParaRPr sz="2400" b="1" dirty="0">
                        <a:solidFill>
                          <a:schemeClr val="tx2">
                            <a:lumMod val="60000"/>
                            <a:lumOff val="40000"/>
                          </a:schemeClr>
                        </a:solidFill>
                        <a:latin typeface="Montserrat"/>
                        <a:ea typeface="Montserrat"/>
                        <a:cs typeface="Montserrat"/>
                        <a:sym typeface="Montserrat"/>
                      </a:endParaRPr>
                    </a:p>
                  </a:txBody>
                  <a:tcPr marL="121900" marR="121900" marT="121900" marB="121900">
                    <a:lnL w="9525" cap="flat" cmpd="sng">
                      <a:solidFill>
                        <a:srgbClr val="9E9E9E">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Software Firewall</a:t>
                      </a:r>
                      <a:endParaRPr sz="24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Prisma</a:t>
                      </a:r>
                      <a:endParaRPr sz="2400" b="1" dirty="0">
                        <a:solidFill>
                          <a:schemeClr val="tx2">
                            <a:lumMod val="60000"/>
                            <a:lumOff val="40000"/>
                          </a:schemeClr>
                        </a:solidFill>
                        <a:latin typeface="Montserrat"/>
                        <a:ea typeface="Montserrat"/>
                        <a:cs typeface="Montserrat"/>
                        <a:sym typeface="Montserrat"/>
                      </a:endParaRPr>
                    </a:p>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SASE</a:t>
                      </a:r>
                      <a:endParaRPr sz="24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Prisma</a:t>
                      </a:r>
                      <a:endParaRPr sz="2400" b="1" dirty="0">
                        <a:solidFill>
                          <a:schemeClr val="tx2">
                            <a:lumMod val="60000"/>
                            <a:lumOff val="40000"/>
                          </a:schemeClr>
                        </a:solidFill>
                        <a:latin typeface="Montserrat"/>
                        <a:ea typeface="Montserrat"/>
                        <a:cs typeface="Montserrat"/>
                        <a:sym typeface="Montserrat"/>
                      </a:endParaRPr>
                    </a:p>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Cloud</a:t>
                      </a:r>
                      <a:endParaRPr sz="24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Cortex</a:t>
                      </a:r>
                      <a:endParaRPr sz="2400" b="1" dirty="0">
                        <a:solidFill>
                          <a:schemeClr val="tx2">
                            <a:lumMod val="60000"/>
                            <a:lumOff val="40000"/>
                          </a:schemeClr>
                        </a:solidFill>
                        <a:latin typeface="Montserrat"/>
                        <a:ea typeface="Montserrat"/>
                        <a:cs typeface="Montserrat"/>
                        <a:sym typeface="Montserrat"/>
                      </a:endParaRPr>
                    </a:p>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XDR</a:t>
                      </a:r>
                      <a:endParaRPr sz="24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tc>
                  <a:txBody>
                    <a:bodyPr/>
                    <a:lstStyle/>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Cortex</a:t>
                      </a:r>
                      <a:endParaRPr sz="2400" b="1" dirty="0">
                        <a:solidFill>
                          <a:schemeClr val="tx2">
                            <a:lumMod val="60000"/>
                            <a:lumOff val="40000"/>
                          </a:schemeClr>
                        </a:solidFill>
                        <a:latin typeface="Montserrat"/>
                        <a:ea typeface="Montserrat"/>
                        <a:cs typeface="Montserrat"/>
                        <a:sym typeface="Montserrat"/>
                      </a:endParaRPr>
                    </a:p>
                    <a:p>
                      <a:pPr marL="0" lvl="0" indent="0" algn="ctr" rtl="0">
                        <a:spcBef>
                          <a:spcPts val="0"/>
                        </a:spcBef>
                        <a:spcAft>
                          <a:spcPts val="0"/>
                        </a:spcAft>
                        <a:buNone/>
                      </a:pPr>
                      <a:r>
                        <a:rPr lang="en" sz="2400" b="1" dirty="0">
                          <a:solidFill>
                            <a:schemeClr val="tx2">
                              <a:lumMod val="60000"/>
                              <a:lumOff val="40000"/>
                            </a:schemeClr>
                          </a:solidFill>
                          <a:latin typeface="Montserrat"/>
                          <a:ea typeface="Montserrat"/>
                          <a:cs typeface="Montserrat"/>
                          <a:sym typeface="Montserrat"/>
                        </a:rPr>
                        <a:t>XSOAR</a:t>
                      </a:r>
                      <a:endParaRPr sz="2400" b="1" dirty="0">
                        <a:solidFill>
                          <a:schemeClr val="tx2">
                            <a:lumMod val="60000"/>
                            <a:lumOff val="40000"/>
                          </a:schemeClr>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76200" cap="flat" cmpd="sng">
                      <a:solidFill>
                        <a:schemeClr val="lt1"/>
                      </a:solidFill>
                      <a:prstDash val="solid"/>
                      <a:round/>
                      <a:headEnd type="none" w="sm" len="sm"/>
                      <a:tailEnd type="none" w="sm" len="sm"/>
                    </a:lnB>
                  </a:tcPr>
                </a:tc>
                <a:extLst>
                  <a:ext uri="{0D108BD9-81ED-4DB2-BD59-A6C34878D82A}">
                    <a16:rowId xmlns:a16="http://schemas.microsoft.com/office/drawing/2014/main" val="10000"/>
                  </a:ext>
                </a:extLst>
              </a:tr>
              <a:tr h="2174200">
                <a:tc>
                  <a:txBody>
                    <a:bodyPr/>
                    <a:lstStyle/>
                    <a:p>
                      <a:pPr marL="0" lvl="0" indent="0" algn="ctr" rtl="0">
                        <a:spcBef>
                          <a:spcPts val="0"/>
                        </a:spcBef>
                        <a:spcAft>
                          <a:spcPts val="0"/>
                        </a:spcAft>
                        <a:buClr>
                          <a:schemeClr val="dk1"/>
                        </a:buClr>
                        <a:buSzPts val="1100"/>
                        <a:buFont typeface="Arial"/>
                        <a:buNone/>
                      </a:pPr>
                      <a:r>
                        <a:rPr lang="en" sz="1300" dirty="0">
                          <a:latin typeface="Montserrat"/>
                          <a:ea typeface="Montserrat"/>
                          <a:cs typeface="Montserrat"/>
                          <a:sym typeface="Montserrat"/>
                        </a:rPr>
                        <a:t>+5% on PA-Series line item</a:t>
                      </a:r>
                      <a:endParaRPr sz="1300" dirty="0">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latin typeface="Montserrat"/>
                          <a:ea typeface="Montserrat"/>
                          <a:cs typeface="Montserrat"/>
                          <a:sym typeface="Montserrat"/>
                        </a:rPr>
                        <a:t>Deal Reg Op </a:t>
                      </a:r>
                      <a:endParaRPr sz="1300" dirty="0">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latin typeface="Montserrat"/>
                          <a:ea typeface="Montserrat"/>
                          <a:cs typeface="Montserrat"/>
                          <a:sym typeface="Montserrat"/>
                        </a:rPr>
                        <a:t>+ Standard Discount &amp; Deal Reg Incentive</a:t>
                      </a:r>
                      <a:endParaRPr sz="1300" dirty="0">
                        <a:latin typeface="Montserrat"/>
                        <a:ea typeface="Montserrat"/>
                        <a:cs typeface="Montserrat"/>
                        <a:sym typeface="Montserrat"/>
                      </a:endParaRPr>
                    </a:p>
                    <a:p>
                      <a:pPr marL="0" lvl="0" indent="0" algn="ctr" rtl="0">
                        <a:spcBef>
                          <a:spcPts val="1000"/>
                        </a:spcBef>
                        <a:spcAft>
                          <a:spcPts val="1000"/>
                        </a:spcAft>
                        <a:buNone/>
                      </a:pPr>
                      <a:r>
                        <a:rPr lang="en" sz="1300" dirty="0">
                          <a:latin typeface="Montserrat"/>
                          <a:ea typeface="Montserrat"/>
                          <a:cs typeface="Montserrat"/>
                          <a:sym typeface="Montserrat"/>
                        </a:rPr>
                        <a:t> @ Standard Price</a:t>
                      </a:r>
                      <a:endParaRPr sz="1300" dirty="0">
                        <a:latin typeface="Montserrat"/>
                        <a:ea typeface="Montserrat"/>
                        <a:cs typeface="Montserrat"/>
                        <a:sym typeface="Montserrat"/>
                      </a:endParaRPr>
                    </a:p>
                  </a:txBody>
                  <a:tcPr marL="121900" marR="121900" marT="121900" marB="121900">
                    <a:lnL w="9525" cap="flat" cmpd="sng">
                      <a:solidFill>
                        <a:srgbClr val="9E9E9E">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5% on VM-Series &amp; CN-Series line item</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Deal Reg Op </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 Standard Discount &amp; Deal Reg Incentive</a:t>
                      </a:r>
                      <a:endParaRPr sz="1300" dirty="0">
                        <a:solidFill>
                          <a:schemeClr val="tx1"/>
                        </a:solidFill>
                        <a:latin typeface="Montserrat"/>
                        <a:ea typeface="Montserrat"/>
                        <a:cs typeface="Montserrat"/>
                        <a:sym typeface="Montserrat"/>
                      </a:endParaRPr>
                    </a:p>
                    <a:p>
                      <a:pPr marL="0" lvl="0" indent="0" algn="ctr" rtl="0">
                        <a:spcBef>
                          <a:spcPts val="1000"/>
                        </a:spcBef>
                        <a:spcAft>
                          <a:spcPts val="1000"/>
                        </a:spcAft>
                        <a:buClr>
                          <a:schemeClr val="dk1"/>
                        </a:buClr>
                        <a:buSzPts val="1100"/>
                        <a:buFont typeface="Arial"/>
                        <a:buNone/>
                      </a:pPr>
                      <a:r>
                        <a:rPr lang="en" sz="1300" dirty="0">
                          <a:solidFill>
                            <a:schemeClr val="tx1"/>
                          </a:solidFill>
                          <a:latin typeface="Montserrat"/>
                          <a:ea typeface="Montserrat"/>
                          <a:cs typeface="Montserrat"/>
                          <a:sym typeface="Montserrat"/>
                        </a:rPr>
                        <a:t> @ Standard Price</a:t>
                      </a:r>
                      <a:endParaRPr sz="1300" dirty="0">
                        <a:solidFill>
                          <a:schemeClr val="tx1"/>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5% on SASE</a:t>
                      </a:r>
                      <a:br>
                        <a:rPr lang="en" sz="1300" dirty="0">
                          <a:solidFill>
                            <a:schemeClr val="tx1"/>
                          </a:solidFill>
                          <a:latin typeface="Montserrat"/>
                          <a:ea typeface="Montserrat"/>
                          <a:cs typeface="Montserrat"/>
                          <a:sym typeface="Montserrat"/>
                        </a:rPr>
                      </a:br>
                      <a:r>
                        <a:rPr lang="en" sz="1300" dirty="0">
                          <a:solidFill>
                            <a:schemeClr val="tx1"/>
                          </a:solidFill>
                          <a:latin typeface="Montserrat"/>
                          <a:ea typeface="Montserrat"/>
                          <a:cs typeface="Montserrat"/>
                          <a:sym typeface="Montserrat"/>
                        </a:rPr>
                        <a:t>line item</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Deal Reg Op </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 Standard Discount &amp; Deal Reg Incentive</a:t>
                      </a:r>
                      <a:endParaRPr sz="1300" dirty="0">
                        <a:solidFill>
                          <a:schemeClr val="tx1"/>
                        </a:solidFill>
                        <a:latin typeface="Montserrat"/>
                        <a:ea typeface="Montserrat"/>
                        <a:cs typeface="Montserrat"/>
                        <a:sym typeface="Montserrat"/>
                      </a:endParaRPr>
                    </a:p>
                    <a:p>
                      <a:pPr marL="0" lvl="0" indent="0" algn="ctr" rtl="0">
                        <a:spcBef>
                          <a:spcPts val="1000"/>
                        </a:spcBef>
                        <a:spcAft>
                          <a:spcPts val="1000"/>
                        </a:spcAft>
                        <a:buClr>
                          <a:schemeClr val="dk1"/>
                        </a:buClr>
                        <a:buSzPts val="1100"/>
                        <a:buFont typeface="Arial"/>
                        <a:buNone/>
                      </a:pPr>
                      <a:r>
                        <a:rPr lang="en" sz="1300" dirty="0">
                          <a:solidFill>
                            <a:schemeClr val="tx1"/>
                          </a:solidFill>
                          <a:latin typeface="Montserrat"/>
                          <a:ea typeface="Montserrat"/>
                          <a:cs typeface="Montserrat"/>
                          <a:sym typeface="Montserrat"/>
                        </a:rPr>
                        <a:t> @ Standard Price</a:t>
                      </a:r>
                      <a:endParaRPr sz="1300" dirty="0">
                        <a:solidFill>
                          <a:schemeClr val="tx1"/>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5% on Prisma Cloud line item</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Deal Reg Op </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 Standard Discount &amp; Deal Reg Incentive</a:t>
                      </a:r>
                      <a:endParaRPr sz="1300" dirty="0">
                        <a:solidFill>
                          <a:schemeClr val="tx1"/>
                        </a:solidFill>
                        <a:latin typeface="Montserrat"/>
                        <a:ea typeface="Montserrat"/>
                        <a:cs typeface="Montserrat"/>
                        <a:sym typeface="Montserrat"/>
                      </a:endParaRPr>
                    </a:p>
                    <a:p>
                      <a:pPr marL="0" lvl="0" indent="0" algn="ctr" rtl="0">
                        <a:spcBef>
                          <a:spcPts val="1000"/>
                        </a:spcBef>
                        <a:spcAft>
                          <a:spcPts val="1000"/>
                        </a:spcAft>
                        <a:buClr>
                          <a:schemeClr val="dk1"/>
                        </a:buClr>
                        <a:buSzPts val="1100"/>
                        <a:buFont typeface="Arial"/>
                        <a:buNone/>
                      </a:pPr>
                      <a:r>
                        <a:rPr lang="en" sz="1300" dirty="0">
                          <a:solidFill>
                            <a:schemeClr val="tx1"/>
                          </a:solidFill>
                          <a:latin typeface="Montserrat"/>
                          <a:ea typeface="Montserrat"/>
                          <a:cs typeface="Montserrat"/>
                          <a:sym typeface="Montserrat"/>
                        </a:rPr>
                        <a:t> @ Standard Price</a:t>
                      </a:r>
                      <a:endParaRPr sz="1300" dirty="0">
                        <a:solidFill>
                          <a:schemeClr val="tx1"/>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5% on Cortex</a:t>
                      </a:r>
                      <a:br>
                        <a:rPr lang="en" sz="1300" dirty="0">
                          <a:solidFill>
                            <a:schemeClr val="tx1"/>
                          </a:solidFill>
                          <a:latin typeface="Montserrat"/>
                          <a:ea typeface="Montserrat"/>
                          <a:cs typeface="Montserrat"/>
                          <a:sym typeface="Montserrat"/>
                        </a:rPr>
                      </a:br>
                      <a:r>
                        <a:rPr lang="en" sz="1300" dirty="0">
                          <a:solidFill>
                            <a:schemeClr val="tx1"/>
                          </a:solidFill>
                          <a:latin typeface="Montserrat"/>
                          <a:ea typeface="Montserrat"/>
                          <a:cs typeface="Montserrat"/>
                          <a:sym typeface="Montserrat"/>
                        </a:rPr>
                        <a:t>XDR line item</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Deal Reg Op </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 Standard Discount &amp; Deal Reg Incentive</a:t>
                      </a:r>
                      <a:endParaRPr sz="1300" dirty="0">
                        <a:solidFill>
                          <a:schemeClr val="tx1"/>
                        </a:solidFill>
                        <a:latin typeface="Montserrat"/>
                        <a:ea typeface="Montserrat"/>
                        <a:cs typeface="Montserrat"/>
                        <a:sym typeface="Montserrat"/>
                      </a:endParaRPr>
                    </a:p>
                    <a:p>
                      <a:pPr marL="0" lvl="0" indent="0" algn="ctr" rtl="0">
                        <a:spcBef>
                          <a:spcPts val="1000"/>
                        </a:spcBef>
                        <a:spcAft>
                          <a:spcPts val="1000"/>
                        </a:spcAft>
                        <a:buClr>
                          <a:schemeClr val="dk1"/>
                        </a:buClr>
                        <a:buSzPts val="1100"/>
                        <a:buFont typeface="Arial"/>
                        <a:buNone/>
                      </a:pPr>
                      <a:r>
                        <a:rPr lang="en" sz="1300" dirty="0">
                          <a:solidFill>
                            <a:schemeClr val="tx1"/>
                          </a:solidFill>
                          <a:latin typeface="Montserrat"/>
                          <a:ea typeface="Montserrat"/>
                          <a:cs typeface="Montserrat"/>
                          <a:sym typeface="Montserrat"/>
                        </a:rPr>
                        <a:t> @ Standard Price</a:t>
                      </a:r>
                      <a:endParaRPr sz="1300" dirty="0">
                        <a:solidFill>
                          <a:schemeClr val="tx1"/>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5% on Cortex XSOAR line item</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Deal Reg Op </a:t>
                      </a:r>
                      <a:endParaRPr sz="1300" dirty="0">
                        <a:solidFill>
                          <a:schemeClr val="tx1"/>
                        </a:solidFill>
                        <a:latin typeface="Montserrat"/>
                        <a:ea typeface="Montserrat"/>
                        <a:cs typeface="Montserrat"/>
                        <a:sym typeface="Montserrat"/>
                      </a:endParaRPr>
                    </a:p>
                    <a:p>
                      <a:pPr marL="0" lvl="0" indent="0" algn="ctr" rtl="0">
                        <a:spcBef>
                          <a:spcPts val="1000"/>
                        </a:spcBef>
                        <a:spcAft>
                          <a:spcPts val="0"/>
                        </a:spcAft>
                        <a:buClr>
                          <a:schemeClr val="dk1"/>
                        </a:buClr>
                        <a:buSzPts val="1100"/>
                        <a:buFont typeface="Arial"/>
                        <a:buNone/>
                      </a:pPr>
                      <a:r>
                        <a:rPr lang="en" sz="1300" dirty="0">
                          <a:solidFill>
                            <a:schemeClr val="tx1"/>
                          </a:solidFill>
                          <a:latin typeface="Montserrat"/>
                          <a:ea typeface="Montserrat"/>
                          <a:cs typeface="Montserrat"/>
                          <a:sym typeface="Montserrat"/>
                        </a:rPr>
                        <a:t>+ Standard Discount &amp; Deal Reg Incentive</a:t>
                      </a:r>
                      <a:endParaRPr sz="1300" dirty="0">
                        <a:solidFill>
                          <a:schemeClr val="tx1"/>
                        </a:solidFill>
                        <a:latin typeface="Montserrat"/>
                        <a:ea typeface="Montserrat"/>
                        <a:cs typeface="Montserrat"/>
                        <a:sym typeface="Montserrat"/>
                      </a:endParaRPr>
                    </a:p>
                    <a:p>
                      <a:pPr marL="0" lvl="0" indent="0" algn="ctr" rtl="0">
                        <a:spcBef>
                          <a:spcPts val="1000"/>
                        </a:spcBef>
                        <a:spcAft>
                          <a:spcPts val="1000"/>
                        </a:spcAft>
                        <a:buClr>
                          <a:schemeClr val="dk1"/>
                        </a:buClr>
                        <a:buSzPts val="1100"/>
                        <a:buFont typeface="Arial"/>
                        <a:buNone/>
                      </a:pPr>
                      <a:r>
                        <a:rPr lang="en" sz="1300" dirty="0">
                          <a:solidFill>
                            <a:schemeClr val="tx1"/>
                          </a:solidFill>
                          <a:latin typeface="Montserrat"/>
                          <a:ea typeface="Montserrat"/>
                          <a:cs typeface="Montserrat"/>
                          <a:sym typeface="Montserrat"/>
                        </a:rPr>
                        <a:t> @ Standard Price</a:t>
                      </a:r>
                      <a:endParaRPr sz="1300" dirty="0">
                        <a:solidFill>
                          <a:schemeClr val="tx1"/>
                        </a:solidFill>
                        <a:latin typeface="Montserrat"/>
                        <a:ea typeface="Montserrat"/>
                        <a:cs typeface="Montserrat"/>
                        <a:sym typeface="Montserrat"/>
                      </a:endParaRPr>
                    </a:p>
                  </a:txBody>
                  <a:tcPr marL="121900" marR="121900" marT="121900" marB="121900">
                    <a:lnL w="76200" cap="flat" cmpd="sng">
                      <a:solidFill>
                        <a:schemeClr val="lt1"/>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9E9E9E">
                          <a:alpha val="0"/>
                        </a:srgbClr>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cxnSp>
        <p:nvCxnSpPr>
          <p:cNvPr id="1087" name="Google Shape;1087;p112"/>
          <p:cNvCxnSpPr/>
          <p:nvPr/>
        </p:nvCxnSpPr>
        <p:spPr>
          <a:xfrm>
            <a:off x="864572" y="2506756"/>
            <a:ext cx="631200" cy="0"/>
          </a:xfrm>
          <a:prstGeom prst="straightConnector1">
            <a:avLst/>
          </a:prstGeom>
          <a:noFill/>
          <a:ln w="19050" cap="flat" cmpd="sng">
            <a:solidFill>
              <a:schemeClr val="accent1"/>
            </a:solidFill>
            <a:prstDash val="solid"/>
            <a:round/>
            <a:headEnd type="none" w="med" len="med"/>
            <a:tailEnd type="none" w="med" len="med"/>
          </a:ln>
        </p:spPr>
      </p:cxnSp>
      <p:cxnSp>
        <p:nvCxnSpPr>
          <p:cNvPr id="1088" name="Google Shape;1088;p112"/>
          <p:cNvCxnSpPr/>
          <p:nvPr/>
        </p:nvCxnSpPr>
        <p:spPr>
          <a:xfrm>
            <a:off x="2829912" y="2506756"/>
            <a:ext cx="631200" cy="0"/>
          </a:xfrm>
          <a:prstGeom prst="straightConnector1">
            <a:avLst/>
          </a:prstGeom>
          <a:noFill/>
          <a:ln w="19050" cap="flat" cmpd="sng">
            <a:solidFill>
              <a:schemeClr val="accent1"/>
            </a:solidFill>
            <a:prstDash val="solid"/>
            <a:round/>
            <a:headEnd type="none" w="med" len="med"/>
            <a:tailEnd type="none" w="med" len="med"/>
          </a:ln>
        </p:spPr>
      </p:cxnSp>
      <p:cxnSp>
        <p:nvCxnSpPr>
          <p:cNvPr id="1089" name="Google Shape;1089;p112"/>
          <p:cNvCxnSpPr/>
          <p:nvPr/>
        </p:nvCxnSpPr>
        <p:spPr>
          <a:xfrm>
            <a:off x="4795252" y="2506756"/>
            <a:ext cx="631200" cy="0"/>
          </a:xfrm>
          <a:prstGeom prst="straightConnector1">
            <a:avLst/>
          </a:prstGeom>
          <a:noFill/>
          <a:ln w="19050" cap="flat" cmpd="sng">
            <a:solidFill>
              <a:schemeClr val="accent1"/>
            </a:solidFill>
            <a:prstDash val="solid"/>
            <a:round/>
            <a:headEnd type="none" w="med" len="med"/>
            <a:tailEnd type="none" w="med" len="med"/>
          </a:ln>
        </p:spPr>
      </p:cxnSp>
      <p:cxnSp>
        <p:nvCxnSpPr>
          <p:cNvPr id="1090" name="Google Shape;1090;p112"/>
          <p:cNvCxnSpPr/>
          <p:nvPr/>
        </p:nvCxnSpPr>
        <p:spPr>
          <a:xfrm>
            <a:off x="6760592" y="2506756"/>
            <a:ext cx="631200" cy="0"/>
          </a:xfrm>
          <a:prstGeom prst="straightConnector1">
            <a:avLst/>
          </a:prstGeom>
          <a:noFill/>
          <a:ln w="19050" cap="flat" cmpd="sng">
            <a:solidFill>
              <a:schemeClr val="accent1"/>
            </a:solidFill>
            <a:prstDash val="solid"/>
            <a:round/>
            <a:headEnd type="none" w="med" len="med"/>
            <a:tailEnd type="none" w="med" len="med"/>
          </a:ln>
        </p:spPr>
      </p:cxnSp>
      <p:cxnSp>
        <p:nvCxnSpPr>
          <p:cNvPr id="1091" name="Google Shape;1091;p112"/>
          <p:cNvCxnSpPr/>
          <p:nvPr/>
        </p:nvCxnSpPr>
        <p:spPr>
          <a:xfrm>
            <a:off x="8725932" y="2506756"/>
            <a:ext cx="631200" cy="0"/>
          </a:xfrm>
          <a:prstGeom prst="straightConnector1">
            <a:avLst/>
          </a:prstGeom>
          <a:noFill/>
          <a:ln w="19050" cap="flat" cmpd="sng">
            <a:solidFill>
              <a:schemeClr val="accent1"/>
            </a:solidFill>
            <a:prstDash val="solid"/>
            <a:round/>
            <a:headEnd type="none" w="med" len="med"/>
            <a:tailEnd type="none" w="med" len="med"/>
          </a:ln>
        </p:spPr>
      </p:cxnSp>
      <p:cxnSp>
        <p:nvCxnSpPr>
          <p:cNvPr id="1092" name="Google Shape;1092;p112"/>
          <p:cNvCxnSpPr/>
          <p:nvPr/>
        </p:nvCxnSpPr>
        <p:spPr>
          <a:xfrm>
            <a:off x="10691272" y="2506756"/>
            <a:ext cx="631200" cy="0"/>
          </a:xfrm>
          <a:prstGeom prst="straightConnector1">
            <a:avLst/>
          </a:prstGeom>
          <a:noFill/>
          <a:ln w="19050" cap="flat" cmpd="sng">
            <a:solidFill>
              <a:schemeClr val="accent1"/>
            </a:solidFill>
            <a:prstDash val="solid"/>
            <a:round/>
            <a:headEnd type="none" w="med" len="med"/>
            <a:tailEnd type="none" w="med" len="med"/>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D SYNNEX Corporate Theme">
  <a:themeElements>
    <a:clrScheme name="TD SYNNEX Color Palette">
      <a:dk1>
        <a:srgbClr val="005758"/>
      </a:dk1>
      <a:lt1>
        <a:srgbClr val="FFFFFF"/>
      </a:lt1>
      <a:dk2>
        <a:srgbClr val="003030"/>
      </a:dk2>
      <a:lt2>
        <a:srgbClr val="08BED5"/>
      </a:lt2>
      <a:accent1>
        <a:srgbClr val="005758"/>
      </a:accent1>
      <a:accent2>
        <a:srgbClr val="CCD814"/>
      </a:accent2>
      <a:accent3>
        <a:srgbClr val="08BED5"/>
      </a:accent3>
      <a:accent4>
        <a:srgbClr val="888B8D"/>
      </a:accent4>
      <a:accent5>
        <a:srgbClr val="636669"/>
      </a:accent5>
      <a:accent6>
        <a:srgbClr val="003030"/>
      </a:accent6>
      <a:hlink>
        <a:srgbClr val="CCD814"/>
      </a:hlink>
      <a:folHlink>
        <a:srgbClr val="888B8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TD SYNNEX Corporate Powerpoint Template v5.potx" id="{18B3C0E2-D224-45F2-B5BB-0CDBAFF289A1}" vid="{D9D5843D-A53B-44AD-898E-8680F5DE3948}"/>
    </a:ext>
  </a:extLst>
</a:theme>
</file>

<file path=ppt/theme/theme2.xml><?xml version="1.0" encoding="utf-8"?>
<a:theme xmlns:a="http://schemas.openxmlformats.org/drawingml/2006/main" name="2_General slides">
  <a:themeElements>
    <a:clrScheme name="Default color palette">
      <a:dk1>
        <a:srgbClr val="000000"/>
      </a:dk1>
      <a:lt1>
        <a:srgbClr val="FFFFFF"/>
      </a:lt1>
      <a:dk2>
        <a:srgbClr val="003738"/>
      </a:dk2>
      <a:lt2>
        <a:srgbClr val="FFFFFF"/>
      </a:lt2>
      <a:accent1>
        <a:srgbClr val="93EB20"/>
      </a:accent1>
      <a:accent2>
        <a:srgbClr val="00E296"/>
      </a:accent2>
      <a:accent3>
        <a:srgbClr val="FFC000"/>
      </a:accent3>
      <a:accent4>
        <a:srgbClr val="288782"/>
      </a:accent4>
      <a:accent5>
        <a:srgbClr val="159F98"/>
      </a:accent5>
      <a:accent6>
        <a:srgbClr val="00B492"/>
      </a:accent6>
      <a:hlink>
        <a:srgbClr val="93EB20"/>
      </a:hlink>
      <a:folHlink>
        <a:srgbClr val="288782"/>
      </a:folHlink>
    </a:clrScheme>
    <a:fontScheme name="Custom 7">
      <a:majorFont>
        <a:latin typeface="Tahoma"/>
        <a:ea typeface=""/>
        <a:cs typeface=""/>
      </a:majorFont>
      <a:minorFont>
        <a:latin typeface="Tahoma"/>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a:solidFill>
            <a:srgbClr val="00E296"/>
          </a:solidFill>
          <a:headEnd type="none" w="med" len="med"/>
          <a:tailEnd type="none" w="med" len="med"/>
        </a:ln>
        <a:effectLst/>
      </a:spPr>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defPPr algn="ctr" defTabSz="914099" fontAlgn="base">
          <a:spcBef>
            <a:spcPct val="0"/>
          </a:spcBef>
          <a:spcAft>
            <a:spcPct val="0"/>
          </a:spcAft>
          <a:defRPr spc="0" dirty="0">
            <a:gradFill>
              <a:gsLst>
                <a:gs pos="0">
                  <a:srgbClr val="FFFFFF"/>
                </a:gs>
                <a:gs pos="100000">
                  <a:srgbClr val="FFFFFF"/>
                </a:gs>
              </a:gsLst>
              <a:lin ang="5400000" scaled="0"/>
            </a:gra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rgbClr val="00E296"/>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spAutoFit/>
      </a:bodyPr>
      <a:lstStyle>
        <a:defPPr algn="ctr">
          <a:defRPr sz="2000" dirty="0" err="1" smtClean="0">
            <a:solidFill>
              <a:schemeClr val="bg1"/>
            </a:solidFill>
            <a:latin typeface="+mn-lt"/>
          </a:defRPr>
        </a:defPPr>
      </a:lstStyle>
    </a:txDef>
  </a:objectDefaults>
  <a:extraClrSchemeLst/>
  <a:extLst>
    <a:ext uri="{05A4C25C-085E-4340-85A3-A5531E510DB2}">
      <thm15:themeFamily xmlns:thm15="http://schemas.microsoft.com/office/thememl/2012/main" name="Veeam_Corporate_Template_16x9" id="{6CBA38E1-9802-4898-A09B-5BF7DE522045}" vid="{857F141E-2C10-42D3-8F02-882F5C66D3A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d05e527-16a7-4e15-bfdc-1d9d7eebbffa" xsi:nil="true"/>
    <lcf76f155ced4ddcb4097134ff3c332f xmlns="22338dbf-efec-4f10-9503-1f2e74fc2a46">
      <Terms xmlns="http://schemas.microsoft.com/office/infopath/2007/PartnerControls"/>
    </lcf76f155ced4ddcb4097134ff3c332f>
    <SharedWithUsers xmlns="2d05e527-16a7-4e15-bfdc-1d9d7eebbffa">
      <UserInfo>
        <DisplayName>Pluut, Diana</DisplayName>
        <AccountId>342</AccountId>
        <AccountType/>
      </UserInfo>
      <UserInfo>
        <DisplayName>O'brien, Stephanie</DisplayName>
        <AccountId>17615</AccountId>
        <AccountType/>
      </UserInfo>
      <UserInfo>
        <DisplayName>Gordon(Azimi), Stephanie</DisplayName>
        <AccountId>2653</AccountId>
        <AccountType/>
      </UserInfo>
      <UserInfo>
        <DisplayName>Dvorak, Jan</DisplayName>
        <AccountId>101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AD46205635DDB4FB18ACC096FFED7EE" ma:contentTypeVersion="4" ma:contentTypeDescription="Create a new document." ma:contentTypeScope="" ma:versionID="5148bfcb0e67ceab25921ea70447fcf5">
  <xsd:schema xmlns:xsd="http://www.w3.org/2001/XMLSchema" xmlns:xs="http://www.w3.org/2001/XMLSchema" xmlns:p="http://schemas.microsoft.com/office/2006/metadata/properties" xmlns:ns2="22338DBF-EFEC-4F10-9503-1F2E74FC2A46" xmlns:ns3="2d05e527-16a7-4e15-bfdc-1d9d7eebbffa" xmlns:ns4="22338dbf-efec-4f10-9503-1f2e74fc2a46" targetNamespace="http://schemas.microsoft.com/office/2006/metadata/properties" ma:root="true" ma:fieldsID="6a88f3bf773830806df8204b759f0428" ns2:_="" ns3:_="" ns4:_="">
    <xsd:import namespace="22338DBF-EFEC-4F10-9503-1F2E74FC2A46"/>
    <xsd:import namespace="2d05e527-16a7-4e15-bfdc-1d9d7eebbffa"/>
    <xsd:import namespace="22338dbf-efec-4f10-9503-1f2e74fc2a4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DateTaken" minOccurs="0"/>
                <xsd:element ref="ns4:lcf76f155ced4ddcb4097134ff3c332f" minOccurs="0"/>
                <xsd:element ref="ns3:TaxCatchAll"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338DBF-EFEC-4F10-9503-1F2E74FC2A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05e527-16a7-4e15-bfdc-1d9d7eebbff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description="" ma:internalName="SharedWithDetails" ma:readOnly="true">
      <xsd:simpleType>
        <xsd:restriction base="dms:Note">
          <xsd:maxLength value="255"/>
        </xsd:restriction>
      </xsd:simpleType>
    </xsd:element>
    <xsd:element name="TaxCatchAll" ma:index="19" nillable="true" ma:displayName="Taxonomy Catch All Column" ma:hidden="true" ma:list="{eee3e5e1-cae2-4026-a671-a811dcd08c78}" ma:internalName="TaxCatchAll" ma:showField="CatchAllData" ma:web="2d05e527-16a7-4e15-bfdc-1d9d7eebbff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2338dbf-efec-4f10-9503-1f2e74fc2a46" elementFormDefault="qualified">
    <xsd:import namespace="http://schemas.microsoft.com/office/2006/documentManagement/types"/>
    <xsd:import namespace="http://schemas.microsoft.com/office/infopath/2007/PartnerControls"/>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062CF2-164A-4F39-BE3C-690883A50EE2}">
  <ds:schemaRefs>
    <ds:schemaRef ds:uri="22338DBF-EFEC-4F10-9503-1F2E74FC2A46"/>
    <ds:schemaRef ds:uri="22338dbf-efec-4f10-9503-1f2e74fc2a46"/>
    <ds:schemaRef ds:uri="2d05e527-16a7-4e15-bfdc-1d9d7eebbff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EEBC142-9648-43F8-9B37-4D49007EA95A}">
  <ds:schemaRefs>
    <ds:schemaRef ds:uri="http://schemas.microsoft.com/sharepoint/v3/contenttype/forms"/>
  </ds:schemaRefs>
</ds:datastoreItem>
</file>

<file path=customXml/itemProps3.xml><?xml version="1.0" encoding="utf-8"?>
<ds:datastoreItem xmlns:ds="http://schemas.openxmlformats.org/officeDocument/2006/customXml" ds:itemID="{E345C79D-F428-40A0-89E7-181A65DE3113}">
  <ds:schemaRefs>
    <ds:schemaRef ds:uri="22338DBF-EFEC-4F10-9503-1F2E74FC2A46"/>
    <ds:schemaRef ds:uri="22338dbf-efec-4f10-9503-1f2e74fc2a46"/>
    <ds:schemaRef ds:uri="2d05e527-16a7-4e15-bfdc-1d9d7eebbff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D SYNNEX Corporate Powerpoint Template v5</Template>
  <TotalTime>0</TotalTime>
  <Words>844</Words>
  <Application>Microsoft Office PowerPoint</Application>
  <PresentationFormat>Widescreen</PresentationFormat>
  <Paragraphs>141</Paragraphs>
  <Slides>11</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1" baseType="lpstr">
      <vt:lpstr>Calibri</vt:lpstr>
      <vt:lpstr>Arial</vt:lpstr>
      <vt:lpstr>Montserrat SemiBold</vt:lpstr>
      <vt:lpstr>Tahoma</vt:lpstr>
      <vt:lpstr>Montserrat</vt:lpstr>
      <vt:lpstr>Montserrat ExtraBold</vt:lpstr>
      <vt:lpstr>Montserrat Medium</vt:lpstr>
      <vt:lpstr>TD SYNNEX Corporate Theme</vt:lpstr>
      <vt:lpstr>2_General slides</vt:lpstr>
      <vt:lpstr>think-cell Slide</vt:lpstr>
      <vt:lpstr>PowerPoint Presentation</vt:lpstr>
      <vt:lpstr>Partnerské úrovně</vt:lpstr>
      <vt:lpstr>PowerPoint Presentation</vt:lpstr>
      <vt:lpstr>PowerPoint Presentation</vt:lpstr>
      <vt:lpstr>Podmínky platné od 1.8.2023</vt:lpstr>
      <vt:lpstr>PowerPoint Presentation</vt:lpstr>
      <vt:lpstr>NextWave Product Specializations | Requirements</vt:lpstr>
      <vt:lpstr>Engagement poins</vt:lpstr>
      <vt:lpstr>Obchodní výhody</vt:lpstr>
      <vt:lpstr>Jsme Vašim Partnerem 15+ let zkušeností v oblasti kybernetické bezpečnosti – 8 členný tým</vt:lpstr>
      <vt:lpstr>Děkuji za pozorno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oughton, George</dc:creator>
  <cp:lastModifiedBy>Kysova, Kristina</cp:lastModifiedBy>
  <cp:revision>8</cp:revision>
  <dcterms:created xsi:type="dcterms:W3CDTF">2022-09-28T13:39:08Z</dcterms:created>
  <dcterms:modified xsi:type="dcterms:W3CDTF">2023-05-16T12:3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a23c400-78e7-4d42-982d-273adef68ef9_Enabled">
    <vt:lpwstr>true</vt:lpwstr>
  </property>
  <property fmtid="{D5CDD505-2E9C-101B-9397-08002B2CF9AE}" pid="3" name="MSIP_Label_3a23c400-78e7-4d42-982d-273adef68ef9_SetDate">
    <vt:lpwstr>2021-08-31T15:24:20Z</vt:lpwstr>
  </property>
  <property fmtid="{D5CDD505-2E9C-101B-9397-08002B2CF9AE}" pid="4" name="MSIP_Label_3a23c400-78e7-4d42-982d-273adef68ef9_Method">
    <vt:lpwstr>Standard</vt:lpwstr>
  </property>
  <property fmtid="{D5CDD505-2E9C-101B-9397-08002B2CF9AE}" pid="5" name="MSIP_Label_3a23c400-78e7-4d42-982d-273adef68ef9_Name">
    <vt:lpwstr>3a23c400-78e7-4d42-982d-273adef68ef9</vt:lpwstr>
  </property>
  <property fmtid="{D5CDD505-2E9C-101B-9397-08002B2CF9AE}" pid="6" name="MSIP_Label_3a23c400-78e7-4d42-982d-273adef68ef9_SiteId">
    <vt:lpwstr>7fe14ab6-8f5d-4139-84bf-cd8aed0ee6b9</vt:lpwstr>
  </property>
  <property fmtid="{D5CDD505-2E9C-101B-9397-08002B2CF9AE}" pid="7" name="MSIP_Label_3a23c400-78e7-4d42-982d-273adef68ef9_ActionId">
    <vt:lpwstr>9723bfac-e20c-4bfb-9935-aff5889fe235</vt:lpwstr>
  </property>
  <property fmtid="{D5CDD505-2E9C-101B-9397-08002B2CF9AE}" pid="8" name="MSIP_Label_3a23c400-78e7-4d42-982d-273adef68ef9_ContentBits">
    <vt:lpwstr>0</vt:lpwstr>
  </property>
  <property fmtid="{D5CDD505-2E9C-101B-9397-08002B2CF9AE}" pid="9" name="ContentTypeId">
    <vt:lpwstr>0x0101005AD46205635DDB4FB18ACC096FFED7EE</vt:lpwstr>
  </property>
  <property fmtid="{D5CDD505-2E9C-101B-9397-08002B2CF9AE}" pid="10" name="_dlc_policyId">
    <vt:lpwstr>/sites/Clients/Shared Documents</vt:lpwstr>
  </property>
  <property fmtid="{D5CDD505-2E9C-101B-9397-08002B2CF9AE}" pid="11" name="ItemRetentionFormula">
    <vt:lpwstr>&lt;formula id="Microsoft.Office.RecordsManagement.PolicyFeatures.Expiration.Formula.BuiltIn"&gt;&lt;number&gt;1&lt;/number&gt;&lt;property&gt;_DCDateCreated&lt;/property&gt;&lt;propertyId&gt;00000000-0000-0000-0000-000000000000&lt;/propertyId&gt;&lt;period&gt;days&lt;/period&gt;&lt;/formula&gt;</vt:lpwstr>
  </property>
  <property fmtid="{D5CDD505-2E9C-101B-9397-08002B2CF9AE}" pid="12" name="MediaServiceImageTags">
    <vt:lpwstr/>
  </property>
</Properties>
</file>